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0" r:id="rId1"/>
    <p:sldMasterId id="2147483673" r:id="rId2"/>
  </p:sldMasterIdLst>
  <p:notesMasterIdLst>
    <p:notesMasterId r:id="rId11"/>
  </p:notesMasterIdLst>
  <p:sldIdLst>
    <p:sldId id="256" r:id="rId3"/>
    <p:sldId id="273" r:id="rId4"/>
    <p:sldId id="332" r:id="rId5"/>
    <p:sldId id="333" r:id="rId6"/>
    <p:sldId id="338" r:id="rId7"/>
    <p:sldId id="337" r:id="rId8"/>
    <p:sldId id="335" r:id="rId9"/>
    <p:sldId id="336" r:id="rId10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10" d="100"/>
          <a:sy n="110" d="100"/>
        </p:scale>
        <p:origin x="55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61DD2A-D6A6-4594-AC06-E51FB9167D78}" type="datetimeFigureOut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CF24AC-CB92-43F4-8370-CE77E945EC45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377932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CF24AC-CB92-43F4-8370-CE77E945EC45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060203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以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F5A53-C728-4F5F-9F4C-B4D0781C8750}" type="datetimeFigureOut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DE7D6-2695-4B77-BF29-629DBD5F6D6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636597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F5A53-C728-4F5F-9F4C-B4D0781C8750}" type="datetimeFigureOut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DE7D6-2695-4B77-BF29-629DBD5F6D6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862329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F5A53-C728-4F5F-9F4C-B4D0781C8750}" type="datetimeFigureOut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DE7D6-2695-4B77-BF29-629DBD5F6D6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663023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2" name="矩形 9791">
            <a:extLst>
              <a:ext uri="{FF2B5EF4-FFF2-40B4-BE49-F238E27FC236}">
                <a16:creationId xmlns="" xmlns:a16="http://schemas.microsoft.com/office/drawing/2014/main" id="{22211B81-DF9C-4635-BA56-35555599CC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1" name="组合 30">
            <a:extLst>
              <a:ext uri="{FF2B5EF4-FFF2-40B4-BE49-F238E27FC236}">
                <a16:creationId xmlns="" xmlns:a16="http://schemas.microsoft.com/office/drawing/2014/main" id="{31DBFAA4-AC9F-4FAD-B778-21ACE40CC918}"/>
              </a:ext>
            </a:extLst>
          </p:cNvPr>
          <p:cNvGrpSpPr/>
          <p:nvPr userDrawn="1"/>
        </p:nvGrpSpPr>
        <p:grpSpPr>
          <a:xfrm>
            <a:off x="817563" y="3175000"/>
            <a:ext cx="10702925" cy="3683000"/>
            <a:chOff x="744538" y="1584325"/>
            <a:chExt cx="10702925" cy="3683000"/>
          </a:xfrm>
          <a:solidFill>
            <a:schemeClr val="bg1">
              <a:alpha val="17000"/>
            </a:schemeClr>
          </a:solidFill>
        </p:grpSpPr>
        <p:sp>
          <p:nvSpPr>
            <p:cNvPr id="6" name="Rectangle 5">
              <a:extLst>
                <a:ext uri="{FF2B5EF4-FFF2-40B4-BE49-F238E27FC236}">
                  <a16:creationId xmlns="" xmlns:a16="http://schemas.microsoft.com/office/drawing/2014/main" id="{07F6A65E-08CA-4A18-BE26-F171EB6CF5E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46288" y="4478338"/>
              <a:ext cx="106363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="" xmlns:a16="http://schemas.microsoft.com/office/drawing/2014/main" id="{2978079F-4624-4021-9CA3-04942E3795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532063" y="4478338"/>
              <a:ext cx="101600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="" xmlns:a16="http://schemas.microsoft.com/office/drawing/2014/main" id="{6C74C47C-AA3E-45F9-B019-B490D1045C0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86051" y="4478338"/>
              <a:ext cx="106363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="" xmlns:a16="http://schemas.microsoft.com/office/drawing/2014/main" id="{43987C17-9468-4F0A-B62A-148ED7CA5C4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17851" y="4478338"/>
              <a:ext cx="103188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="" xmlns:a16="http://schemas.microsoft.com/office/drawing/2014/main" id="{2D392D9A-7E47-44C0-B007-B673C443DF0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73426" y="4478338"/>
              <a:ext cx="106363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="" xmlns:a16="http://schemas.microsoft.com/office/drawing/2014/main" id="{32CAD03A-4C0D-4EAA-9A26-C71629177FC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77201" y="4699000"/>
              <a:ext cx="1101725" cy="8890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Rectangle 11">
              <a:extLst>
                <a:ext uri="{FF2B5EF4-FFF2-40B4-BE49-F238E27FC236}">
                  <a16:creationId xmlns="" xmlns:a16="http://schemas.microsoft.com/office/drawing/2014/main" id="{F7134F00-5227-48E0-A1F0-563AB0FEA16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77201" y="4854575"/>
              <a:ext cx="1101725" cy="8890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Rectangle 12">
              <a:extLst>
                <a:ext uri="{FF2B5EF4-FFF2-40B4-BE49-F238E27FC236}">
                  <a16:creationId xmlns="" xmlns:a16="http://schemas.microsoft.com/office/drawing/2014/main" id="{5470E1F3-ECB5-4218-BDCF-2E56412EBD1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57663" y="4603750"/>
              <a:ext cx="101600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Rectangle 13">
              <a:extLst>
                <a:ext uri="{FF2B5EF4-FFF2-40B4-BE49-F238E27FC236}">
                  <a16:creationId xmlns="" xmlns:a16="http://schemas.microsoft.com/office/drawing/2014/main" id="{86FBB4F4-A6AB-40FE-A0A6-FA31CB2D666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11651" y="4603750"/>
              <a:ext cx="103188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Rectangle 14">
              <a:extLst>
                <a:ext uri="{FF2B5EF4-FFF2-40B4-BE49-F238E27FC236}">
                  <a16:creationId xmlns="" xmlns:a16="http://schemas.microsoft.com/office/drawing/2014/main" id="{BEC3C37F-A752-4F5B-B610-CC7E6EF1F9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86276" y="4603750"/>
              <a:ext cx="103188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Rectangle 15">
              <a:extLst>
                <a:ext uri="{FF2B5EF4-FFF2-40B4-BE49-F238E27FC236}">
                  <a16:creationId xmlns="" xmlns:a16="http://schemas.microsoft.com/office/drawing/2014/main" id="{0BDC3375-B3D3-467B-9086-8339FB6DD18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641851" y="4603750"/>
              <a:ext cx="104775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Rectangle 16">
              <a:extLst>
                <a:ext uri="{FF2B5EF4-FFF2-40B4-BE49-F238E27FC236}">
                  <a16:creationId xmlns="" xmlns:a16="http://schemas.microsoft.com/office/drawing/2014/main" id="{68888DE7-1D00-4CE5-AAA0-C26EF0D2D72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816476" y="4603750"/>
              <a:ext cx="106363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Rectangle 17">
              <a:extLst>
                <a:ext uri="{FF2B5EF4-FFF2-40B4-BE49-F238E27FC236}">
                  <a16:creationId xmlns="" xmlns:a16="http://schemas.microsoft.com/office/drawing/2014/main" id="{B0BC2A9D-A44C-4E66-BB5F-8C4502F795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72051" y="4603750"/>
              <a:ext cx="104775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Rectangle 18">
              <a:extLst>
                <a:ext uri="{FF2B5EF4-FFF2-40B4-BE49-F238E27FC236}">
                  <a16:creationId xmlns="" xmlns:a16="http://schemas.microsoft.com/office/drawing/2014/main" id="{98AE2389-3E02-4081-8DD7-04EA81E240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46676" y="4603750"/>
              <a:ext cx="104775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Rectangle 19">
              <a:extLst>
                <a:ext uri="{FF2B5EF4-FFF2-40B4-BE49-F238E27FC236}">
                  <a16:creationId xmlns="" xmlns:a16="http://schemas.microsoft.com/office/drawing/2014/main" id="{5559C308-2BF5-4B7E-818F-CD1A7DD8B84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00663" y="4603750"/>
              <a:ext cx="106363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Rectangle 20">
              <a:extLst>
                <a:ext uri="{FF2B5EF4-FFF2-40B4-BE49-F238E27FC236}">
                  <a16:creationId xmlns="" xmlns:a16="http://schemas.microsoft.com/office/drawing/2014/main" id="{5ECB3F3E-9BEE-4057-9589-4A20DB8F55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5288" y="4603750"/>
              <a:ext cx="106363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Rectangle 21">
              <a:extLst>
                <a:ext uri="{FF2B5EF4-FFF2-40B4-BE49-F238E27FC236}">
                  <a16:creationId xmlns="" xmlns:a16="http://schemas.microsoft.com/office/drawing/2014/main" id="{20ADAC72-7ACB-472D-A047-4EAF78D451F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34038" y="4603750"/>
              <a:ext cx="103188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Rectangle 22">
              <a:extLst>
                <a:ext uri="{FF2B5EF4-FFF2-40B4-BE49-F238E27FC236}">
                  <a16:creationId xmlns="" xmlns:a16="http://schemas.microsoft.com/office/drawing/2014/main" id="{BBEDC840-FE57-4A8C-A8BB-6538FF6DCF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808663" y="4603750"/>
              <a:ext cx="103188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Rectangle 23">
              <a:extLst>
                <a:ext uri="{FF2B5EF4-FFF2-40B4-BE49-F238E27FC236}">
                  <a16:creationId xmlns="" xmlns:a16="http://schemas.microsoft.com/office/drawing/2014/main" id="{7519A4C1-179E-4584-816E-BB4E0B9490C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64238" y="4603750"/>
              <a:ext cx="101600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Freeform 24">
              <a:extLst>
                <a:ext uri="{FF2B5EF4-FFF2-40B4-BE49-F238E27FC236}">
                  <a16:creationId xmlns="" xmlns:a16="http://schemas.microsoft.com/office/drawing/2014/main" id="{E14551D9-01C2-49F5-A4A8-7A45471B0E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69551" y="2533650"/>
              <a:ext cx="661988" cy="777875"/>
            </a:xfrm>
            <a:custGeom>
              <a:avLst/>
              <a:gdLst>
                <a:gd name="T0" fmla="*/ 201 w 201"/>
                <a:gd name="T1" fmla="*/ 43 h 236"/>
                <a:gd name="T2" fmla="*/ 160 w 201"/>
                <a:gd name="T3" fmla="*/ 86 h 236"/>
                <a:gd name="T4" fmla="*/ 148 w 201"/>
                <a:gd name="T5" fmla="*/ 87 h 236"/>
                <a:gd name="T6" fmla="*/ 154 w 201"/>
                <a:gd name="T7" fmla="*/ 98 h 236"/>
                <a:gd name="T8" fmla="*/ 161 w 201"/>
                <a:gd name="T9" fmla="*/ 125 h 236"/>
                <a:gd name="T10" fmla="*/ 113 w 201"/>
                <a:gd name="T11" fmla="*/ 181 h 236"/>
                <a:gd name="T12" fmla="*/ 106 w 201"/>
                <a:gd name="T13" fmla="*/ 182 h 236"/>
                <a:gd name="T14" fmla="*/ 106 w 201"/>
                <a:gd name="T15" fmla="*/ 188 h 236"/>
                <a:gd name="T16" fmla="*/ 53 w 201"/>
                <a:gd name="T17" fmla="*/ 236 h 236"/>
                <a:gd name="T18" fmla="*/ 0 w 201"/>
                <a:gd name="T19" fmla="*/ 183 h 236"/>
                <a:gd name="T20" fmla="*/ 41 w 201"/>
                <a:gd name="T21" fmla="*/ 131 h 236"/>
                <a:gd name="T22" fmla="*/ 47 w 201"/>
                <a:gd name="T23" fmla="*/ 129 h 236"/>
                <a:gd name="T24" fmla="*/ 47 w 201"/>
                <a:gd name="T25" fmla="*/ 123 h 236"/>
                <a:gd name="T26" fmla="*/ 49 w 201"/>
                <a:gd name="T27" fmla="*/ 110 h 236"/>
                <a:gd name="T28" fmla="*/ 50 w 201"/>
                <a:gd name="T29" fmla="*/ 107 h 236"/>
                <a:gd name="T30" fmla="*/ 48 w 201"/>
                <a:gd name="T31" fmla="*/ 104 h 236"/>
                <a:gd name="T32" fmla="*/ 41 w 201"/>
                <a:gd name="T33" fmla="*/ 77 h 236"/>
                <a:gd name="T34" fmla="*/ 90 w 201"/>
                <a:gd name="T35" fmla="*/ 27 h 236"/>
                <a:gd name="T36" fmla="*/ 108 w 201"/>
                <a:gd name="T37" fmla="*/ 31 h 236"/>
                <a:gd name="T38" fmla="*/ 116 w 201"/>
                <a:gd name="T39" fmla="*/ 34 h 236"/>
                <a:gd name="T40" fmla="*/ 119 w 201"/>
                <a:gd name="T41" fmla="*/ 26 h 236"/>
                <a:gd name="T42" fmla="*/ 158 w 201"/>
                <a:gd name="T43" fmla="*/ 0 h 236"/>
                <a:gd name="T44" fmla="*/ 201 w 201"/>
                <a:gd name="T45" fmla="*/ 43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1" h="236">
                  <a:moveTo>
                    <a:pt x="201" y="43"/>
                  </a:moveTo>
                  <a:cubicBezTo>
                    <a:pt x="201" y="66"/>
                    <a:pt x="183" y="85"/>
                    <a:pt x="160" y="86"/>
                  </a:cubicBezTo>
                  <a:cubicBezTo>
                    <a:pt x="148" y="87"/>
                    <a:pt x="148" y="87"/>
                    <a:pt x="148" y="87"/>
                  </a:cubicBezTo>
                  <a:cubicBezTo>
                    <a:pt x="154" y="98"/>
                    <a:pt x="154" y="98"/>
                    <a:pt x="154" y="98"/>
                  </a:cubicBezTo>
                  <a:cubicBezTo>
                    <a:pt x="158" y="106"/>
                    <a:pt x="161" y="115"/>
                    <a:pt x="161" y="125"/>
                  </a:cubicBezTo>
                  <a:cubicBezTo>
                    <a:pt x="161" y="153"/>
                    <a:pt x="140" y="176"/>
                    <a:pt x="113" y="181"/>
                  </a:cubicBezTo>
                  <a:cubicBezTo>
                    <a:pt x="106" y="182"/>
                    <a:pt x="106" y="182"/>
                    <a:pt x="106" y="182"/>
                  </a:cubicBezTo>
                  <a:cubicBezTo>
                    <a:pt x="106" y="188"/>
                    <a:pt x="106" y="188"/>
                    <a:pt x="106" y="188"/>
                  </a:cubicBezTo>
                  <a:cubicBezTo>
                    <a:pt x="103" y="215"/>
                    <a:pt x="80" y="236"/>
                    <a:pt x="53" y="236"/>
                  </a:cubicBezTo>
                  <a:cubicBezTo>
                    <a:pt x="24" y="236"/>
                    <a:pt x="0" y="212"/>
                    <a:pt x="0" y="183"/>
                  </a:cubicBezTo>
                  <a:cubicBezTo>
                    <a:pt x="0" y="158"/>
                    <a:pt x="17" y="136"/>
                    <a:pt x="41" y="131"/>
                  </a:cubicBezTo>
                  <a:cubicBezTo>
                    <a:pt x="47" y="129"/>
                    <a:pt x="47" y="129"/>
                    <a:pt x="47" y="129"/>
                  </a:cubicBezTo>
                  <a:cubicBezTo>
                    <a:pt x="47" y="123"/>
                    <a:pt x="47" y="123"/>
                    <a:pt x="47" y="123"/>
                  </a:cubicBezTo>
                  <a:cubicBezTo>
                    <a:pt x="48" y="119"/>
                    <a:pt x="48" y="114"/>
                    <a:pt x="49" y="110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3" y="96"/>
                    <a:pt x="41" y="87"/>
                    <a:pt x="41" y="77"/>
                  </a:cubicBezTo>
                  <a:cubicBezTo>
                    <a:pt x="41" y="50"/>
                    <a:pt x="63" y="27"/>
                    <a:pt x="90" y="27"/>
                  </a:cubicBezTo>
                  <a:cubicBezTo>
                    <a:pt x="96" y="27"/>
                    <a:pt x="103" y="29"/>
                    <a:pt x="108" y="31"/>
                  </a:cubicBezTo>
                  <a:cubicBezTo>
                    <a:pt x="116" y="34"/>
                    <a:pt x="116" y="34"/>
                    <a:pt x="116" y="34"/>
                  </a:cubicBezTo>
                  <a:cubicBezTo>
                    <a:pt x="119" y="26"/>
                    <a:pt x="119" y="26"/>
                    <a:pt x="119" y="26"/>
                  </a:cubicBezTo>
                  <a:cubicBezTo>
                    <a:pt x="125" y="10"/>
                    <a:pt x="141" y="0"/>
                    <a:pt x="158" y="0"/>
                  </a:cubicBezTo>
                  <a:cubicBezTo>
                    <a:pt x="182" y="0"/>
                    <a:pt x="201" y="19"/>
                    <a:pt x="201" y="43"/>
                  </a:cubicBezTo>
                  <a:close/>
                </a:path>
              </a:pathLst>
            </a:custGeom>
            <a:grpFill/>
            <a:ln w="26988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Freeform 25">
              <a:extLst>
                <a:ext uri="{FF2B5EF4-FFF2-40B4-BE49-F238E27FC236}">
                  <a16:creationId xmlns="" xmlns:a16="http://schemas.microsoft.com/office/drawing/2014/main" id="{14349970-D9D4-4DCF-B89C-B16F38C7C0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45363" y="1584325"/>
              <a:ext cx="1598613" cy="1150938"/>
            </a:xfrm>
            <a:custGeom>
              <a:avLst/>
              <a:gdLst>
                <a:gd name="T0" fmla="*/ 469 w 485"/>
                <a:gd name="T1" fmla="*/ 103 h 349"/>
                <a:gd name="T2" fmla="*/ 409 w 485"/>
                <a:gd name="T3" fmla="*/ 105 h 349"/>
                <a:gd name="T4" fmla="*/ 396 w 485"/>
                <a:gd name="T5" fmla="*/ 109 h 349"/>
                <a:gd name="T6" fmla="*/ 375 w 485"/>
                <a:gd name="T7" fmla="*/ 140 h 349"/>
                <a:gd name="T8" fmla="*/ 371 w 485"/>
                <a:gd name="T9" fmla="*/ 148 h 349"/>
                <a:gd name="T10" fmla="*/ 330 w 485"/>
                <a:gd name="T11" fmla="*/ 202 h 349"/>
                <a:gd name="T12" fmla="*/ 306 w 485"/>
                <a:gd name="T13" fmla="*/ 196 h 349"/>
                <a:gd name="T14" fmla="*/ 306 w 485"/>
                <a:gd name="T15" fmla="*/ 237 h 349"/>
                <a:gd name="T16" fmla="*/ 242 w 485"/>
                <a:gd name="T17" fmla="*/ 274 h 349"/>
                <a:gd name="T18" fmla="*/ 234 w 485"/>
                <a:gd name="T19" fmla="*/ 279 h 349"/>
                <a:gd name="T20" fmla="*/ 168 w 485"/>
                <a:gd name="T21" fmla="*/ 307 h 349"/>
                <a:gd name="T22" fmla="*/ 133 w 485"/>
                <a:gd name="T23" fmla="*/ 270 h 349"/>
                <a:gd name="T24" fmla="*/ 127 w 485"/>
                <a:gd name="T25" fmla="*/ 269 h 349"/>
                <a:gd name="T26" fmla="*/ 117 w 485"/>
                <a:gd name="T27" fmla="*/ 274 h 349"/>
                <a:gd name="T28" fmla="*/ 95 w 485"/>
                <a:gd name="T29" fmla="*/ 298 h 349"/>
                <a:gd name="T30" fmla="*/ 59 w 485"/>
                <a:gd name="T31" fmla="*/ 327 h 349"/>
                <a:gd name="T32" fmla="*/ 39 w 485"/>
                <a:gd name="T33" fmla="*/ 323 h 349"/>
                <a:gd name="T34" fmla="*/ 37 w 485"/>
                <a:gd name="T35" fmla="*/ 336 h 349"/>
                <a:gd name="T36" fmla="*/ 19 w 485"/>
                <a:gd name="T37" fmla="*/ 349 h 349"/>
                <a:gd name="T38" fmla="*/ 2 w 485"/>
                <a:gd name="T39" fmla="*/ 338 h 349"/>
                <a:gd name="T40" fmla="*/ 17 w 485"/>
                <a:gd name="T41" fmla="*/ 311 h 349"/>
                <a:gd name="T42" fmla="*/ 24 w 485"/>
                <a:gd name="T43" fmla="*/ 301 h 349"/>
                <a:gd name="T44" fmla="*/ 24 w 485"/>
                <a:gd name="T45" fmla="*/ 281 h 349"/>
                <a:gd name="T46" fmla="*/ 18 w 485"/>
                <a:gd name="T47" fmla="*/ 235 h 349"/>
                <a:gd name="T48" fmla="*/ 74 w 485"/>
                <a:gd name="T49" fmla="*/ 199 h 349"/>
                <a:gd name="T50" fmla="*/ 82 w 485"/>
                <a:gd name="T51" fmla="*/ 194 h 349"/>
                <a:gd name="T52" fmla="*/ 90 w 485"/>
                <a:gd name="T53" fmla="*/ 179 h 349"/>
                <a:gd name="T54" fmla="*/ 91 w 485"/>
                <a:gd name="T55" fmla="*/ 148 h 349"/>
                <a:gd name="T56" fmla="*/ 154 w 485"/>
                <a:gd name="T57" fmla="*/ 117 h 349"/>
                <a:gd name="T58" fmla="*/ 176 w 485"/>
                <a:gd name="T59" fmla="*/ 131 h 349"/>
                <a:gd name="T60" fmla="*/ 206 w 485"/>
                <a:gd name="T61" fmla="*/ 111 h 349"/>
                <a:gd name="T62" fmla="*/ 212 w 485"/>
                <a:gd name="T63" fmla="*/ 103 h 349"/>
                <a:gd name="T64" fmla="*/ 265 w 485"/>
                <a:gd name="T65" fmla="*/ 46 h 349"/>
                <a:gd name="T66" fmla="*/ 298 w 485"/>
                <a:gd name="T67" fmla="*/ 57 h 349"/>
                <a:gd name="T68" fmla="*/ 313 w 485"/>
                <a:gd name="T69" fmla="*/ 45 h 349"/>
                <a:gd name="T70" fmla="*/ 317 w 485"/>
                <a:gd name="T71" fmla="*/ 40 h 349"/>
                <a:gd name="T72" fmla="*/ 366 w 485"/>
                <a:gd name="T73" fmla="*/ 0 h 349"/>
                <a:gd name="T74" fmla="*/ 411 w 485"/>
                <a:gd name="T75" fmla="*/ 30 h 349"/>
                <a:gd name="T76" fmla="*/ 421 w 485"/>
                <a:gd name="T77" fmla="*/ 34 h 349"/>
                <a:gd name="T78" fmla="*/ 468 w 485"/>
                <a:gd name="T79" fmla="*/ 4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85" h="349">
                  <a:moveTo>
                    <a:pt x="468" y="42"/>
                  </a:moveTo>
                  <a:cubicBezTo>
                    <a:pt x="485" y="59"/>
                    <a:pt x="485" y="86"/>
                    <a:pt x="469" y="103"/>
                  </a:cubicBezTo>
                  <a:cubicBezTo>
                    <a:pt x="461" y="112"/>
                    <a:pt x="450" y="116"/>
                    <a:pt x="438" y="116"/>
                  </a:cubicBezTo>
                  <a:cubicBezTo>
                    <a:pt x="427" y="116"/>
                    <a:pt x="417" y="112"/>
                    <a:pt x="409" y="105"/>
                  </a:cubicBezTo>
                  <a:cubicBezTo>
                    <a:pt x="400" y="97"/>
                    <a:pt x="400" y="97"/>
                    <a:pt x="400" y="97"/>
                  </a:cubicBezTo>
                  <a:cubicBezTo>
                    <a:pt x="396" y="109"/>
                    <a:pt x="396" y="109"/>
                    <a:pt x="396" y="109"/>
                  </a:cubicBezTo>
                  <a:cubicBezTo>
                    <a:pt x="394" y="118"/>
                    <a:pt x="389" y="126"/>
                    <a:pt x="383" y="133"/>
                  </a:cubicBezTo>
                  <a:cubicBezTo>
                    <a:pt x="380" y="136"/>
                    <a:pt x="378" y="138"/>
                    <a:pt x="375" y="140"/>
                  </a:cubicBezTo>
                  <a:cubicBezTo>
                    <a:pt x="370" y="143"/>
                    <a:pt x="370" y="143"/>
                    <a:pt x="370" y="143"/>
                  </a:cubicBezTo>
                  <a:cubicBezTo>
                    <a:pt x="371" y="148"/>
                    <a:pt x="371" y="148"/>
                    <a:pt x="371" y="148"/>
                  </a:cubicBezTo>
                  <a:cubicBezTo>
                    <a:pt x="373" y="156"/>
                    <a:pt x="373" y="165"/>
                    <a:pt x="370" y="172"/>
                  </a:cubicBezTo>
                  <a:cubicBezTo>
                    <a:pt x="365" y="190"/>
                    <a:pt x="348" y="202"/>
                    <a:pt x="330" y="202"/>
                  </a:cubicBezTo>
                  <a:cubicBezTo>
                    <a:pt x="326" y="202"/>
                    <a:pt x="322" y="201"/>
                    <a:pt x="318" y="200"/>
                  </a:cubicBezTo>
                  <a:cubicBezTo>
                    <a:pt x="306" y="196"/>
                    <a:pt x="306" y="196"/>
                    <a:pt x="306" y="196"/>
                  </a:cubicBezTo>
                  <a:cubicBezTo>
                    <a:pt x="308" y="209"/>
                    <a:pt x="308" y="209"/>
                    <a:pt x="308" y="209"/>
                  </a:cubicBezTo>
                  <a:cubicBezTo>
                    <a:pt x="309" y="218"/>
                    <a:pt x="309" y="228"/>
                    <a:pt x="306" y="237"/>
                  </a:cubicBezTo>
                  <a:cubicBezTo>
                    <a:pt x="298" y="260"/>
                    <a:pt x="276" y="275"/>
                    <a:pt x="252" y="275"/>
                  </a:cubicBezTo>
                  <a:cubicBezTo>
                    <a:pt x="249" y="275"/>
                    <a:pt x="246" y="275"/>
                    <a:pt x="242" y="274"/>
                  </a:cubicBezTo>
                  <a:cubicBezTo>
                    <a:pt x="236" y="273"/>
                    <a:pt x="236" y="273"/>
                    <a:pt x="236" y="273"/>
                  </a:cubicBezTo>
                  <a:cubicBezTo>
                    <a:pt x="234" y="279"/>
                    <a:pt x="234" y="279"/>
                    <a:pt x="234" y="279"/>
                  </a:cubicBezTo>
                  <a:cubicBezTo>
                    <a:pt x="225" y="298"/>
                    <a:pt x="206" y="310"/>
                    <a:pt x="185" y="310"/>
                  </a:cubicBezTo>
                  <a:cubicBezTo>
                    <a:pt x="179" y="310"/>
                    <a:pt x="174" y="309"/>
                    <a:pt x="168" y="307"/>
                  </a:cubicBezTo>
                  <a:cubicBezTo>
                    <a:pt x="153" y="302"/>
                    <a:pt x="141" y="290"/>
                    <a:pt x="135" y="275"/>
                  </a:cubicBezTo>
                  <a:cubicBezTo>
                    <a:pt x="133" y="270"/>
                    <a:pt x="133" y="270"/>
                    <a:pt x="133" y="270"/>
                  </a:cubicBezTo>
                  <a:cubicBezTo>
                    <a:pt x="129" y="269"/>
                    <a:pt x="129" y="269"/>
                    <a:pt x="129" y="269"/>
                  </a:cubicBezTo>
                  <a:cubicBezTo>
                    <a:pt x="128" y="269"/>
                    <a:pt x="127" y="269"/>
                    <a:pt x="127" y="269"/>
                  </a:cubicBezTo>
                  <a:cubicBezTo>
                    <a:pt x="120" y="268"/>
                    <a:pt x="120" y="268"/>
                    <a:pt x="120" y="268"/>
                  </a:cubicBezTo>
                  <a:cubicBezTo>
                    <a:pt x="117" y="274"/>
                    <a:pt x="117" y="274"/>
                    <a:pt x="117" y="274"/>
                  </a:cubicBezTo>
                  <a:cubicBezTo>
                    <a:pt x="113" y="283"/>
                    <a:pt x="106" y="291"/>
                    <a:pt x="97" y="296"/>
                  </a:cubicBezTo>
                  <a:cubicBezTo>
                    <a:pt x="95" y="298"/>
                    <a:pt x="95" y="298"/>
                    <a:pt x="95" y="298"/>
                  </a:cubicBezTo>
                  <a:cubicBezTo>
                    <a:pt x="93" y="302"/>
                    <a:pt x="93" y="302"/>
                    <a:pt x="93" y="302"/>
                  </a:cubicBezTo>
                  <a:cubicBezTo>
                    <a:pt x="88" y="317"/>
                    <a:pt x="75" y="327"/>
                    <a:pt x="59" y="327"/>
                  </a:cubicBezTo>
                  <a:cubicBezTo>
                    <a:pt x="55" y="327"/>
                    <a:pt x="52" y="326"/>
                    <a:pt x="48" y="325"/>
                  </a:cubicBezTo>
                  <a:cubicBezTo>
                    <a:pt x="39" y="323"/>
                    <a:pt x="39" y="323"/>
                    <a:pt x="39" y="323"/>
                  </a:cubicBezTo>
                  <a:cubicBezTo>
                    <a:pt x="38" y="332"/>
                    <a:pt x="38" y="332"/>
                    <a:pt x="38" y="332"/>
                  </a:cubicBezTo>
                  <a:cubicBezTo>
                    <a:pt x="38" y="333"/>
                    <a:pt x="38" y="335"/>
                    <a:pt x="37" y="336"/>
                  </a:cubicBezTo>
                  <a:cubicBezTo>
                    <a:pt x="36" y="340"/>
                    <a:pt x="33" y="343"/>
                    <a:pt x="30" y="345"/>
                  </a:cubicBezTo>
                  <a:cubicBezTo>
                    <a:pt x="27" y="347"/>
                    <a:pt x="23" y="349"/>
                    <a:pt x="19" y="349"/>
                  </a:cubicBezTo>
                  <a:cubicBezTo>
                    <a:pt x="17" y="349"/>
                    <a:pt x="15" y="348"/>
                    <a:pt x="13" y="348"/>
                  </a:cubicBezTo>
                  <a:cubicBezTo>
                    <a:pt x="9" y="346"/>
                    <a:pt x="5" y="343"/>
                    <a:pt x="2" y="338"/>
                  </a:cubicBezTo>
                  <a:cubicBezTo>
                    <a:pt x="0" y="334"/>
                    <a:pt x="0" y="328"/>
                    <a:pt x="1" y="324"/>
                  </a:cubicBezTo>
                  <a:cubicBezTo>
                    <a:pt x="4" y="317"/>
                    <a:pt x="10" y="312"/>
                    <a:pt x="17" y="311"/>
                  </a:cubicBezTo>
                  <a:cubicBezTo>
                    <a:pt x="27" y="310"/>
                    <a:pt x="27" y="310"/>
                    <a:pt x="27" y="310"/>
                  </a:cubicBezTo>
                  <a:cubicBezTo>
                    <a:pt x="24" y="301"/>
                    <a:pt x="24" y="301"/>
                    <a:pt x="24" y="301"/>
                  </a:cubicBezTo>
                  <a:cubicBezTo>
                    <a:pt x="22" y="295"/>
                    <a:pt x="22" y="289"/>
                    <a:pt x="23" y="284"/>
                  </a:cubicBezTo>
                  <a:cubicBezTo>
                    <a:pt x="24" y="281"/>
                    <a:pt x="24" y="281"/>
                    <a:pt x="24" y="281"/>
                  </a:cubicBezTo>
                  <a:cubicBezTo>
                    <a:pt x="22" y="278"/>
                    <a:pt x="22" y="278"/>
                    <a:pt x="22" y="278"/>
                  </a:cubicBezTo>
                  <a:cubicBezTo>
                    <a:pt x="15" y="265"/>
                    <a:pt x="13" y="249"/>
                    <a:pt x="18" y="235"/>
                  </a:cubicBezTo>
                  <a:cubicBezTo>
                    <a:pt x="25" y="213"/>
                    <a:pt x="46" y="198"/>
                    <a:pt x="68" y="198"/>
                  </a:cubicBezTo>
                  <a:cubicBezTo>
                    <a:pt x="70" y="198"/>
                    <a:pt x="72" y="199"/>
                    <a:pt x="74" y="199"/>
                  </a:cubicBezTo>
                  <a:cubicBezTo>
                    <a:pt x="80" y="199"/>
                    <a:pt x="80" y="199"/>
                    <a:pt x="80" y="199"/>
                  </a:cubicBezTo>
                  <a:cubicBezTo>
                    <a:pt x="82" y="194"/>
                    <a:pt x="82" y="194"/>
                    <a:pt x="82" y="194"/>
                  </a:cubicBezTo>
                  <a:cubicBezTo>
                    <a:pt x="84" y="190"/>
                    <a:pt x="86" y="186"/>
                    <a:pt x="88" y="182"/>
                  </a:cubicBezTo>
                  <a:cubicBezTo>
                    <a:pt x="90" y="179"/>
                    <a:pt x="90" y="179"/>
                    <a:pt x="90" y="179"/>
                  </a:cubicBezTo>
                  <a:cubicBezTo>
                    <a:pt x="89" y="176"/>
                    <a:pt x="89" y="176"/>
                    <a:pt x="89" y="176"/>
                  </a:cubicBezTo>
                  <a:cubicBezTo>
                    <a:pt x="87" y="166"/>
                    <a:pt x="88" y="157"/>
                    <a:pt x="91" y="148"/>
                  </a:cubicBezTo>
                  <a:cubicBezTo>
                    <a:pt x="97" y="128"/>
                    <a:pt x="116" y="114"/>
                    <a:pt x="138" y="114"/>
                  </a:cubicBezTo>
                  <a:cubicBezTo>
                    <a:pt x="143" y="114"/>
                    <a:pt x="149" y="115"/>
                    <a:pt x="154" y="117"/>
                  </a:cubicBezTo>
                  <a:cubicBezTo>
                    <a:pt x="160" y="119"/>
                    <a:pt x="165" y="122"/>
                    <a:pt x="170" y="126"/>
                  </a:cubicBezTo>
                  <a:cubicBezTo>
                    <a:pt x="176" y="131"/>
                    <a:pt x="176" y="131"/>
                    <a:pt x="176" y="131"/>
                  </a:cubicBezTo>
                  <a:cubicBezTo>
                    <a:pt x="181" y="125"/>
                    <a:pt x="181" y="125"/>
                    <a:pt x="181" y="125"/>
                  </a:cubicBezTo>
                  <a:cubicBezTo>
                    <a:pt x="187" y="118"/>
                    <a:pt x="196" y="113"/>
                    <a:pt x="206" y="111"/>
                  </a:cubicBezTo>
                  <a:cubicBezTo>
                    <a:pt x="213" y="110"/>
                    <a:pt x="213" y="110"/>
                    <a:pt x="213" y="110"/>
                  </a:cubicBezTo>
                  <a:cubicBezTo>
                    <a:pt x="212" y="103"/>
                    <a:pt x="212" y="103"/>
                    <a:pt x="212" y="103"/>
                  </a:cubicBezTo>
                  <a:cubicBezTo>
                    <a:pt x="211" y="88"/>
                    <a:pt x="217" y="73"/>
                    <a:pt x="227" y="62"/>
                  </a:cubicBezTo>
                  <a:cubicBezTo>
                    <a:pt x="237" y="52"/>
                    <a:pt x="251" y="46"/>
                    <a:pt x="265" y="46"/>
                  </a:cubicBezTo>
                  <a:cubicBezTo>
                    <a:pt x="275" y="46"/>
                    <a:pt x="285" y="49"/>
                    <a:pt x="293" y="54"/>
                  </a:cubicBezTo>
                  <a:cubicBezTo>
                    <a:pt x="298" y="57"/>
                    <a:pt x="298" y="57"/>
                    <a:pt x="298" y="57"/>
                  </a:cubicBezTo>
                  <a:cubicBezTo>
                    <a:pt x="303" y="53"/>
                    <a:pt x="303" y="53"/>
                    <a:pt x="303" y="53"/>
                  </a:cubicBezTo>
                  <a:cubicBezTo>
                    <a:pt x="306" y="50"/>
                    <a:pt x="309" y="47"/>
                    <a:pt x="313" y="45"/>
                  </a:cubicBezTo>
                  <a:cubicBezTo>
                    <a:pt x="316" y="43"/>
                    <a:pt x="316" y="43"/>
                    <a:pt x="316" y="43"/>
                  </a:cubicBezTo>
                  <a:cubicBezTo>
                    <a:pt x="317" y="40"/>
                    <a:pt x="317" y="40"/>
                    <a:pt x="317" y="40"/>
                  </a:cubicBezTo>
                  <a:cubicBezTo>
                    <a:pt x="319" y="31"/>
                    <a:pt x="323" y="22"/>
                    <a:pt x="330" y="15"/>
                  </a:cubicBezTo>
                  <a:cubicBezTo>
                    <a:pt x="339" y="6"/>
                    <a:pt x="352" y="0"/>
                    <a:pt x="366" y="0"/>
                  </a:cubicBezTo>
                  <a:cubicBezTo>
                    <a:pt x="379" y="0"/>
                    <a:pt x="391" y="5"/>
                    <a:pt x="400" y="14"/>
                  </a:cubicBezTo>
                  <a:cubicBezTo>
                    <a:pt x="405" y="19"/>
                    <a:pt x="408" y="24"/>
                    <a:pt x="411" y="30"/>
                  </a:cubicBezTo>
                  <a:cubicBezTo>
                    <a:pt x="414" y="37"/>
                    <a:pt x="414" y="37"/>
                    <a:pt x="414" y="37"/>
                  </a:cubicBezTo>
                  <a:cubicBezTo>
                    <a:pt x="421" y="34"/>
                    <a:pt x="421" y="34"/>
                    <a:pt x="421" y="34"/>
                  </a:cubicBezTo>
                  <a:cubicBezTo>
                    <a:pt x="427" y="31"/>
                    <a:pt x="432" y="30"/>
                    <a:pt x="438" y="30"/>
                  </a:cubicBezTo>
                  <a:cubicBezTo>
                    <a:pt x="449" y="30"/>
                    <a:pt x="460" y="35"/>
                    <a:pt x="468" y="42"/>
                  </a:cubicBezTo>
                  <a:close/>
                </a:path>
              </a:pathLst>
            </a:custGeom>
            <a:grpFill/>
            <a:ln w="26988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Rectangle 26">
              <a:extLst>
                <a:ext uri="{FF2B5EF4-FFF2-40B4-BE49-F238E27FC236}">
                  <a16:creationId xmlns="" xmlns:a16="http://schemas.microsoft.com/office/drawing/2014/main" id="{18B3AF1B-B436-4804-896F-B47F18ED672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92301" y="4478338"/>
              <a:ext cx="101600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Freeform 27">
              <a:extLst>
                <a:ext uri="{FF2B5EF4-FFF2-40B4-BE49-F238E27FC236}">
                  <a16:creationId xmlns="" xmlns:a16="http://schemas.microsoft.com/office/drawing/2014/main" id="{54846F54-2664-41F1-89B3-D6A85FED0D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4538" y="2444750"/>
              <a:ext cx="10702925" cy="2822575"/>
            </a:xfrm>
            <a:custGeom>
              <a:avLst/>
              <a:gdLst>
                <a:gd name="T0" fmla="*/ 87 w 3246"/>
                <a:gd name="T1" fmla="*/ 244 h 856"/>
                <a:gd name="T2" fmla="*/ 192 w 3246"/>
                <a:gd name="T3" fmla="*/ 236 h 856"/>
                <a:gd name="T4" fmla="*/ 302 w 3246"/>
                <a:gd name="T5" fmla="*/ 527 h 856"/>
                <a:gd name="T6" fmla="*/ 859 w 3246"/>
                <a:gd name="T7" fmla="*/ 473 h 856"/>
                <a:gd name="T8" fmla="*/ 1099 w 3246"/>
                <a:gd name="T9" fmla="*/ 441 h 856"/>
                <a:gd name="T10" fmla="*/ 1116 w 3246"/>
                <a:gd name="T11" fmla="*/ 216 h 856"/>
                <a:gd name="T12" fmla="*/ 1164 w 3246"/>
                <a:gd name="T13" fmla="*/ 441 h 856"/>
                <a:gd name="T14" fmla="*/ 1312 w 3246"/>
                <a:gd name="T15" fmla="*/ 441 h 856"/>
                <a:gd name="T16" fmla="*/ 1358 w 3246"/>
                <a:gd name="T17" fmla="*/ 105 h 856"/>
                <a:gd name="T18" fmla="*/ 1378 w 3246"/>
                <a:gd name="T19" fmla="*/ 441 h 856"/>
                <a:gd name="T20" fmla="*/ 1526 w 3246"/>
                <a:gd name="T21" fmla="*/ 14 h 856"/>
                <a:gd name="T22" fmla="*/ 1568 w 3246"/>
                <a:gd name="T23" fmla="*/ 10 h 856"/>
                <a:gd name="T24" fmla="*/ 1596 w 3246"/>
                <a:gd name="T25" fmla="*/ 573 h 856"/>
                <a:gd name="T26" fmla="*/ 1828 w 3246"/>
                <a:gd name="T27" fmla="*/ 684 h 856"/>
                <a:gd name="T28" fmla="*/ 1877 w 3246"/>
                <a:gd name="T29" fmla="*/ 495 h 856"/>
                <a:gd name="T30" fmla="*/ 1876 w 3246"/>
                <a:gd name="T31" fmla="*/ 300 h 856"/>
                <a:gd name="T32" fmla="*/ 1974 w 3246"/>
                <a:gd name="T33" fmla="*/ 207 h 856"/>
                <a:gd name="T34" fmla="*/ 2071 w 3246"/>
                <a:gd name="T35" fmla="*/ 484 h 856"/>
                <a:gd name="T36" fmla="*/ 2035 w 3246"/>
                <a:gd name="T37" fmla="*/ 554 h 856"/>
                <a:gd name="T38" fmla="*/ 2220 w 3246"/>
                <a:gd name="T39" fmla="*/ 624 h 856"/>
                <a:gd name="T40" fmla="*/ 2300 w 3246"/>
                <a:gd name="T41" fmla="*/ 490 h 856"/>
                <a:gd name="T42" fmla="*/ 2432 w 3246"/>
                <a:gd name="T43" fmla="*/ 450 h 856"/>
                <a:gd name="T44" fmla="*/ 2631 w 3246"/>
                <a:gd name="T45" fmla="*/ 729 h 856"/>
                <a:gd name="T46" fmla="*/ 2872 w 3246"/>
                <a:gd name="T47" fmla="*/ 443 h 856"/>
                <a:gd name="T48" fmla="*/ 2875 w 3246"/>
                <a:gd name="T49" fmla="*/ 395 h 856"/>
                <a:gd name="T50" fmla="*/ 3036 w 3246"/>
                <a:gd name="T51" fmla="*/ 350 h 856"/>
                <a:gd name="T52" fmla="*/ 3027 w 3246"/>
                <a:gd name="T53" fmla="*/ 410 h 856"/>
                <a:gd name="T54" fmla="*/ 3236 w 3246"/>
                <a:gd name="T55" fmla="*/ 837 h 856"/>
                <a:gd name="T56" fmla="*/ 3237 w 3246"/>
                <a:gd name="T57" fmla="*/ 829 h 856"/>
                <a:gd name="T58" fmla="*/ 3036 w 3246"/>
                <a:gd name="T59" fmla="*/ 432 h 856"/>
                <a:gd name="T60" fmla="*/ 3035 w 3246"/>
                <a:gd name="T61" fmla="*/ 410 h 856"/>
                <a:gd name="T62" fmla="*/ 3035 w 3246"/>
                <a:gd name="T63" fmla="*/ 378 h 856"/>
                <a:gd name="T64" fmla="*/ 2857 w 3246"/>
                <a:gd name="T65" fmla="*/ 358 h 856"/>
                <a:gd name="T66" fmla="*/ 2867 w 3246"/>
                <a:gd name="T67" fmla="*/ 390 h 856"/>
                <a:gd name="T68" fmla="*/ 2862 w 3246"/>
                <a:gd name="T69" fmla="*/ 425 h 856"/>
                <a:gd name="T70" fmla="*/ 2741 w 3246"/>
                <a:gd name="T71" fmla="*/ 829 h 856"/>
                <a:gd name="T72" fmla="*/ 2480 w 3246"/>
                <a:gd name="T73" fmla="*/ 616 h 856"/>
                <a:gd name="T74" fmla="*/ 2385 w 3246"/>
                <a:gd name="T75" fmla="*/ 490 h 856"/>
                <a:gd name="T76" fmla="*/ 2259 w 3246"/>
                <a:gd name="T77" fmla="*/ 442 h 856"/>
                <a:gd name="T78" fmla="*/ 2158 w 3246"/>
                <a:gd name="T79" fmla="*/ 676 h 856"/>
                <a:gd name="T80" fmla="*/ 2044 w 3246"/>
                <a:gd name="T81" fmla="*/ 549 h 856"/>
                <a:gd name="T82" fmla="*/ 2069 w 3246"/>
                <a:gd name="T83" fmla="*/ 458 h 856"/>
                <a:gd name="T84" fmla="*/ 2069 w 3246"/>
                <a:gd name="T85" fmla="*/ 300 h 856"/>
                <a:gd name="T86" fmla="*/ 1957 w 3246"/>
                <a:gd name="T87" fmla="*/ 200 h 856"/>
                <a:gd name="T88" fmla="*/ 1866 w 3246"/>
                <a:gd name="T89" fmla="*/ 372 h 856"/>
                <a:gd name="T90" fmla="*/ 1868 w 3246"/>
                <a:gd name="T91" fmla="*/ 492 h 856"/>
                <a:gd name="T92" fmla="*/ 1827 w 3246"/>
                <a:gd name="T93" fmla="*/ 675 h 856"/>
                <a:gd name="T94" fmla="*/ 1694 w 3246"/>
                <a:gd name="T95" fmla="*/ 565 h 856"/>
                <a:gd name="T96" fmla="*/ 1570 w 3246"/>
                <a:gd name="T97" fmla="*/ 18 h 856"/>
                <a:gd name="T98" fmla="*/ 1515 w 3246"/>
                <a:gd name="T99" fmla="*/ 19 h 856"/>
                <a:gd name="T100" fmla="*/ 1396 w 3246"/>
                <a:gd name="T101" fmla="*/ 565 h 856"/>
                <a:gd name="T102" fmla="*/ 1368 w 3246"/>
                <a:gd name="T103" fmla="*/ 107 h 856"/>
                <a:gd name="T104" fmla="*/ 1311 w 3246"/>
                <a:gd name="T105" fmla="*/ 117 h 856"/>
                <a:gd name="T106" fmla="*/ 1187 w 3246"/>
                <a:gd name="T107" fmla="*/ 433 h 856"/>
                <a:gd name="T108" fmla="*/ 1165 w 3246"/>
                <a:gd name="T109" fmla="*/ 208 h 856"/>
                <a:gd name="T110" fmla="*/ 1111 w 3246"/>
                <a:gd name="T111" fmla="*/ 433 h 856"/>
                <a:gd name="T112" fmla="*/ 867 w 3246"/>
                <a:gd name="T113" fmla="*/ 684 h 856"/>
                <a:gd name="T114" fmla="*/ 486 w 3246"/>
                <a:gd name="T115" fmla="*/ 463 h 856"/>
                <a:gd name="T116" fmla="*/ 200 w 3246"/>
                <a:gd name="T117" fmla="*/ 236 h 856"/>
                <a:gd name="T118" fmla="*/ 62 w 3246"/>
                <a:gd name="T119" fmla="*/ 723 h 856"/>
                <a:gd name="T120" fmla="*/ 0 w 3246"/>
                <a:gd name="T121" fmla="*/ 771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46" h="856">
                  <a:moveTo>
                    <a:pt x="8" y="776"/>
                  </a:moveTo>
                  <a:cubicBezTo>
                    <a:pt x="9" y="725"/>
                    <a:pt x="9" y="725"/>
                    <a:pt x="9" y="725"/>
                  </a:cubicBezTo>
                  <a:cubicBezTo>
                    <a:pt x="16" y="726"/>
                    <a:pt x="33" y="728"/>
                    <a:pt x="65" y="731"/>
                  </a:cubicBezTo>
                  <a:cubicBezTo>
                    <a:pt x="69" y="732"/>
                    <a:pt x="69" y="732"/>
                    <a:pt x="69" y="732"/>
                  </a:cubicBezTo>
                  <a:cubicBezTo>
                    <a:pt x="87" y="244"/>
                    <a:pt x="87" y="244"/>
                    <a:pt x="87" y="244"/>
                  </a:cubicBezTo>
                  <a:cubicBezTo>
                    <a:pt x="80" y="244"/>
                    <a:pt x="80" y="244"/>
                    <a:pt x="80" y="244"/>
                  </a:cubicBezTo>
                  <a:cubicBezTo>
                    <a:pt x="76" y="244"/>
                    <a:pt x="73" y="240"/>
                    <a:pt x="73" y="236"/>
                  </a:cubicBezTo>
                  <a:cubicBezTo>
                    <a:pt x="73" y="232"/>
                    <a:pt x="76" y="229"/>
                    <a:pt x="80" y="229"/>
                  </a:cubicBezTo>
                  <a:cubicBezTo>
                    <a:pt x="184" y="229"/>
                    <a:pt x="184" y="229"/>
                    <a:pt x="184" y="229"/>
                  </a:cubicBezTo>
                  <a:cubicBezTo>
                    <a:pt x="188" y="229"/>
                    <a:pt x="192" y="232"/>
                    <a:pt x="192" y="236"/>
                  </a:cubicBezTo>
                  <a:cubicBezTo>
                    <a:pt x="192" y="240"/>
                    <a:pt x="188" y="244"/>
                    <a:pt x="184" y="244"/>
                  </a:cubicBezTo>
                  <a:cubicBezTo>
                    <a:pt x="176" y="244"/>
                    <a:pt x="176" y="244"/>
                    <a:pt x="176" y="244"/>
                  </a:cubicBezTo>
                  <a:cubicBezTo>
                    <a:pt x="191" y="692"/>
                    <a:pt x="191" y="692"/>
                    <a:pt x="191" y="692"/>
                  </a:cubicBezTo>
                  <a:cubicBezTo>
                    <a:pt x="302" y="692"/>
                    <a:pt x="302" y="692"/>
                    <a:pt x="302" y="692"/>
                  </a:cubicBezTo>
                  <a:cubicBezTo>
                    <a:pt x="302" y="527"/>
                    <a:pt x="302" y="527"/>
                    <a:pt x="302" y="527"/>
                  </a:cubicBezTo>
                  <a:cubicBezTo>
                    <a:pt x="478" y="473"/>
                    <a:pt x="478" y="473"/>
                    <a:pt x="478" y="473"/>
                  </a:cubicBezTo>
                  <a:cubicBezTo>
                    <a:pt x="478" y="531"/>
                    <a:pt x="478" y="531"/>
                    <a:pt x="478" y="531"/>
                  </a:cubicBezTo>
                  <a:cubicBezTo>
                    <a:pt x="669" y="473"/>
                    <a:pt x="669" y="473"/>
                    <a:pt x="669" y="473"/>
                  </a:cubicBezTo>
                  <a:cubicBezTo>
                    <a:pt x="669" y="531"/>
                    <a:pt x="669" y="531"/>
                    <a:pt x="669" y="531"/>
                  </a:cubicBezTo>
                  <a:cubicBezTo>
                    <a:pt x="859" y="473"/>
                    <a:pt x="859" y="473"/>
                    <a:pt x="859" y="473"/>
                  </a:cubicBezTo>
                  <a:cubicBezTo>
                    <a:pt x="859" y="692"/>
                    <a:pt x="859" y="692"/>
                    <a:pt x="859" y="692"/>
                  </a:cubicBezTo>
                  <a:cubicBezTo>
                    <a:pt x="981" y="698"/>
                    <a:pt x="981" y="698"/>
                    <a:pt x="981" y="698"/>
                  </a:cubicBezTo>
                  <a:cubicBezTo>
                    <a:pt x="981" y="573"/>
                    <a:pt x="981" y="573"/>
                    <a:pt x="981" y="573"/>
                  </a:cubicBezTo>
                  <a:cubicBezTo>
                    <a:pt x="1085" y="573"/>
                    <a:pt x="1085" y="573"/>
                    <a:pt x="1085" y="573"/>
                  </a:cubicBezTo>
                  <a:cubicBezTo>
                    <a:pt x="1099" y="441"/>
                    <a:pt x="1099" y="441"/>
                    <a:pt x="1099" y="441"/>
                  </a:cubicBezTo>
                  <a:cubicBezTo>
                    <a:pt x="1118" y="441"/>
                    <a:pt x="1118" y="441"/>
                    <a:pt x="1118" y="441"/>
                  </a:cubicBezTo>
                  <a:cubicBezTo>
                    <a:pt x="1125" y="222"/>
                    <a:pt x="1125" y="222"/>
                    <a:pt x="1125" y="222"/>
                  </a:cubicBezTo>
                  <a:cubicBezTo>
                    <a:pt x="1116" y="220"/>
                    <a:pt x="1116" y="220"/>
                    <a:pt x="1116" y="220"/>
                  </a:cubicBezTo>
                  <a:cubicBezTo>
                    <a:pt x="1115" y="219"/>
                    <a:pt x="1115" y="219"/>
                    <a:pt x="1115" y="218"/>
                  </a:cubicBezTo>
                  <a:cubicBezTo>
                    <a:pt x="1115" y="217"/>
                    <a:pt x="1115" y="216"/>
                    <a:pt x="1116" y="216"/>
                  </a:cubicBezTo>
                  <a:cubicBezTo>
                    <a:pt x="1165" y="216"/>
                    <a:pt x="1165" y="216"/>
                    <a:pt x="1165" y="216"/>
                  </a:cubicBezTo>
                  <a:cubicBezTo>
                    <a:pt x="1166" y="216"/>
                    <a:pt x="1167" y="217"/>
                    <a:pt x="1167" y="218"/>
                  </a:cubicBezTo>
                  <a:cubicBezTo>
                    <a:pt x="1167" y="219"/>
                    <a:pt x="1166" y="219"/>
                    <a:pt x="1166" y="220"/>
                  </a:cubicBezTo>
                  <a:cubicBezTo>
                    <a:pt x="1159" y="223"/>
                    <a:pt x="1159" y="223"/>
                    <a:pt x="1159" y="223"/>
                  </a:cubicBezTo>
                  <a:cubicBezTo>
                    <a:pt x="1164" y="441"/>
                    <a:pt x="1164" y="441"/>
                    <a:pt x="1164" y="441"/>
                  </a:cubicBezTo>
                  <a:cubicBezTo>
                    <a:pt x="1179" y="441"/>
                    <a:pt x="1179" y="441"/>
                    <a:pt x="1179" y="441"/>
                  </a:cubicBezTo>
                  <a:cubicBezTo>
                    <a:pt x="1190" y="573"/>
                    <a:pt x="1190" y="573"/>
                    <a:pt x="1190" y="573"/>
                  </a:cubicBezTo>
                  <a:cubicBezTo>
                    <a:pt x="1284" y="573"/>
                    <a:pt x="1284" y="573"/>
                    <a:pt x="1284" y="573"/>
                  </a:cubicBezTo>
                  <a:cubicBezTo>
                    <a:pt x="1298" y="441"/>
                    <a:pt x="1298" y="441"/>
                    <a:pt x="1298" y="441"/>
                  </a:cubicBezTo>
                  <a:cubicBezTo>
                    <a:pt x="1312" y="441"/>
                    <a:pt x="1312" y="441"/>
                    <a:pt x="1312" y="441"/>
                  </a:cubicBezTo>
                  <a:cubicBezTo>
                    <a:pt x="1319" y="110"/>
                    <a:pt x="1319" y="110"/>
                    <a:pt x="1319" y="110"/>
                  </a:cubicBezTo>
                  <a:cubicBezTo>
                    <a:pt x="1309" y="108"/>
                    <a:pt x="1309" y="108"/>
                    <a:pt x="1309" y="108"/>
                  </a:cubicBezTo>
                  <a:cubicBezTo>
                    <a:pt x="1308" y="108"/>
                    <a:pt x="1308" y="107"/>
                    <a:pt x="1308" y="107"/>
                  </a:cubicBezTo>
                  <a:cubicBezTo>
                    <a:pt x="1308" y="106"/>
                    <a:pt x="1308" y="105"/>
                    <a:pt x="1309" y="105"/>
                  </a:cubicBezTo>
                  <a:cubicBezTo>
                    <a:pt x="1358" y="105"/>
                    <a:pt x="1358" y="105"/>
                    <a:pt x="1358" y="105"/>
                  </a:cubicBezTo>
                  <a:cubicBezTo>
                    <a:pt x="1359" y="105"/>
                    <a:pt x="1360" y="106"/>
                    <a:pt x="1360" y="107"/>
                  </a:cubicBezTo>
                  <a:cubicBezTo>
                    <a:pt x="1360" y="107"/>
                    <a:pt x="1359" y="108"/>
                    <a:pt x="1359" y="108"/>
                  </a:cubicBezTo>
                  <a:cubicBezTo>
                    <a:pt x="1353" y="112"/>
                    <a:pt x="1353" y="112"/>
                    <a:pt x="1353" y="112"/>
                  </a:cubicBezTo>
                  <a:cubicBezTo>
                    <a:pt x="1359" y="441"/>
                    <a:pt x="1359" y="441"/>
                    <a:pt x="1359" y="441"/>
                  </a:cubicBezTo>
                  <a:cubicBezTo>
                    <a:pt x="1378" y="441"/>
                    <a:pt x="1378" y="441"/>
                    <a:pt x="1378" y="441"/>
                  </a:cubicBezTo>
                  <a:cubicBezTo>
                    <a:pt x="1389" y="573"/>
                    <a:pt x="1389" y="573"/>
                    <a:pt x="1389" y="573"/>
                  </a:cubicBezTo>
                  <a:cubicBezTo>
                    <a:pt x="1491" y="573"/>
                    <a:pt x="1491" y="573"/>
                    <a:pt x="1491" y="573"/>
                  </a:cubicBezTo>
                  <a:cubicBezTo>
                    <a:pt x="1504" y="441"/>
                    <a:pt x="1504" y="441"/>
                    <a:pt x="1504" y="441"/>
                  </a:cubicBezTo>
                  <a:cubicBezTo>
                    <a:pt x="1518" y="441"/>
                    <a:pt x="1518" y="441"/>
                    <a:pt x="1518" y="441"/>
                  </a:cubicBezTo>
                  <a:cubicBezTo>
                    <a:pt x="1526" y="14"/>
                    <a:pt x="1526" y="14"/>
                    <a:pt x="1526" y="14"/>
                  </a:cubicBezTo>
                  <a:cubicBezTo>
                    <a:pt x="1517" y="11"/>
                    <a:pt x="1517" y="11"/>
                    <a:pt x="1517" y="11"/>
                  </a:cubicBezTo>
                  <a:cubicBezTo>
                    <a:pt x="1517" y="11"/>
                    <a:pt x="1516" y="10"/>
                    <a:pt x="1516" y="10"/>
                  </a:cubicBezTo>
                  <a:cubicBezTo>
                    <a:pt x="1516" y="9"/>
                    <a:pt x="1517" y="8"/>
                    <a:pt x="1518" y="8"/>
                  </a:cubicBezTo>
                  <a:cubicBezTo>
                    <a:pt x="1566" y="8"/>
                    <a:pt x="1566" y="8"/>
                    <a:pt x="1566" y="8"/>
                  </a:cubicBezTo>
                  <a:cubicBezTo>
                    <a:pt x="1567" y="8"/>
                    <a:pt x="1568" y="9"/>
                    <a:pt x="1568" y="10"/>
                  </a:cubicBezTo>
                  <a:cubicBezTo>
                    <a:pt x="1568" y="10"/>
                    <a:pt x="1568" y="11"/>
                    <a:pt x="1567" y="11"/>
                  </a:cubicBezTo>
                  <a:cubicBezTo>
                    <a:pt x="1560" y="14"/>
                    <a:pt x="1560" y="14"/>
                    <a:pt x="1560" y="14"/>
                  </a:cubicBezTo>
                  <a:cubicBezTo>
                    <a:pt x="1566" y="441"/>
                    <a:pt x="1566" y="441"/>
                    <a:pt x="1566" y="441"/>
                  </a:cubicBezTo>
                  <a:cubicBezTo>
                    <a:pt x="1585" y="441"/>
                    <a:pt x="1585" y="441"/>
                    <a:pt x="1585" y="441"/>
                  </a:cubicBezTo>
                  <a:cubicBezTo>
                    <a:pt x="1596" y="573"/>
                    <a:pt x="1596" y="573"/>
                    <a:pt x="1596" y="573"/>
                  </a:cubicBezTo>
                  <a:cubicBezTo>
                    <a:pt x="1686" y="573"/>
                    <a:pt x="1686" y="573"/>
                    <a:pt x="1686" y="573"/>
                  </a:cubicBezTo>
                  <a:cubicBezTo>
                    <a:pt x="1686" y="697"/>
                    <a:pt x="1686" y="697"/>
                    <a:pt x="1686" y="697"/>
                  </a:cubicBezTo>
                  <a:cubicBezTo>
                    <a:pt x="1791" y="697"/>
                    <a:pt x="1791" y="697"/>
                    <a:pt x="1791" y="697"/>
                  </a:cubicBezTo>
                  <a:cubicBezTo>
                    <a:pt x="1791" y="684"/>
                    <a:pt x="1791" y="684"/>
                    <a:pt x="1791" y="684"/>
                  </a:cubicBezTo>
                  <a:cubicBezTo>
                    <a:pt x="1828" y="684"/>
                    <a:pt x="1828" y="684"/>
                    <a:pt x="1828" y="684"/>
                  </a:cubicBezTo>
                  <a:cubicBezTo>
                    <a:pt x="1831" y="682"/>
                    <a:pt x="1831" y="682"/>
                    <a:pt x="1831" y="682"/>
                  </a:cubicBezTo>
                  <a:cubicBezTo>
                    <a:pt x="1867" y="663"/>
                    <a:pt x="1894" y="621"/>
                    <a:pt x="1906" y="559"/>
                  </a:cubicBezTo>
                  <a:cubicBezTo>
                    <a:pt x="1907" y="553"/>
                    <a:pt x="1907" y="553"/>
                    <a:pt x="1907" y="553"/>
                  </a:cubicBezTo>
                  <a:cubicBezTo>
                    <a:pt x="1903" y="549"/>
                    <a:pt x="1903" y="549"/>
                    <a:pt x="1903" y="549"/>
                  </a:cubicBezTo>
                  <a:cubicBezTo>
                    <a:pt x="1888" y="534"/>
                    <a:pt x="1879" y="515"/>
                    <a:pt x="1877" y="495"/>
                  </a:cubicBezTo>
                  <a:cubicBezTo>
                    <a:pt x="1875" y="484"/>
                    <a:pt x="1875" y="484"/>
                    <a:pt x="1875" y="484"/>
                  </a:cubicBezTo>
                  <a:cubicBezTo>
                    <a:pt x="1868" y="484"/>
                    <a:pt x="1868" y="484"/>
                    <a:pt x="1868" y="484"/>
                  </a:cubicBezTo>
                  <a:cubicBezTo>
                    <a:pt x="1868" y="466"/>
                    <a:pt x="1868" y="466"/>
                    <a:pt x="1868" y="466"/>
                  </a:cubicBezTo>
                  <a:cubicBezTo>
                    <a:pt x="1876" y="466"/>
                    <a:pt x="1876" y="466"/>
                    <a:pt x="1876" y="466"/>
                  </a:cubicBezTo>
                  <a:cubicBezTo>
                    <a:pt x="1876" y="300"/>
                    <a:pt x="1876" y="300"/>
                    <a:pt x="1876" y="300"/>
                  </a:cubicBezTo>
                  <a:cubicBezTo>
                    <a:pt x="1876" y="255"/>
                    <a:pt x="1910" y="215"/>
                    <a:pt x="1955" y="209"/>
                  </a:cubicBezTo>
                  <a:cubicBezTo>
                    <a:pt x="1965" y="207"/>
                    <a:pt x="1965" y="207"/>
                    <a:pt x="1965" y="207"/>
                  </a:cubicBezTo>
                  <a:cubicBezTo>
                    <a:pt x="1965" y="191"/>
                    <a:pt x="1965" y="191"/>
                    <a:pt x="1965" y="191"/>
                  </a:cubicBezTo>
                  <a:cubicBezTo>
                    <a:pt x="1974" y="191"/>
                    <a:pt x="1974" y="191"/>
                    <a:pt x="1974" y="191"/>
                  </a:cubicBezTo>
                  <a:cubicBezTo>
                    <a:pt x="1974" y="207"/>
                    <a:pt x="1974" y="207"/>
                    <a:pt x="1974" y="207"/>
                  </a:cubicBezTo>
                  <a:cubicBezTo>
                    <a:pt x="1984" y="209"/>
                    <a:pt x="1984" y="209"/>
                    <a:pt x="1984" y="209"/>
                  </a:cubicBezTo>
                  <a:cubicBezTo>
                    <a:pt x="2029" y="217"/>
                    <a:pt x="2061" y="255"/>
                    <a:pt x="2061" y="300"/>
                  </a:cubicBezTo>
                  <a:cubicBezTo>
                    <a:pt x="2061" y="466"/>
                    <a:pt x="2061" y="466"/>
                    <a:pt x="2061" y="466"/>
                  </a:cubicBezTo>
                  <a:cubicBezTo>
                    <a:pt x="2071" y="466"/>
                    <a:pt x="2071" y="466"/>
                    <a:pt x="2071" y="466"/>
                  </a:cubicBezTo>
                  <a:cubicBezTo>
                    <a:pt x="2071" y="484"/>
                    <a:pt x="2071" y="484"/>
                    <a:pt x="2071" y="484"/>
                  </a:cubicBezTo>
                  <a:cubicBezTo>
                    <a:pt x="2061" y="484"/>
                    <a:pt x="2061" y="484"/>
                    <a:pt x="2061" y="484"/>
                  </a:cubicBezTo>
                  <a:cubicBezTo>
                    <a:pt x="2060" y="495"/>
                    <a:pt x="2060" y="495"/>
                    <a:pt x="2060" y="495"/>
                  </a:cubicBezTo>
                  <a:cubicBezTo>
                    <a:pt x="2058" y="513"/>
                    <a:pt x="2050" y="530"/>
                    <a:pt x="2038" y="544"/>
                  </a:cubicBezTo>
                  <a:cubicBezTo>
                    <a:pt x="2034" y="548"/>
                    <a:pt x="2034" y="548"/>
                    <a:pt x="2034" y="548"/>
                  </a:cubicBezTo>
                  <a:cubicBezTo>
                    <a:pt x="2035" y="554"/>
                    <a:pt x="2035" y="554"/>
                    <a:pt x="2035" y="554"/>
                  </a:cubicBezTo>
                  <a:cubicBezTo>
                    <a:pt x="2047" y="619"/>
                    <a:pt x="2074" y="663"/>
                    <a:pt x="2112" y="682"/>
                  </a:cubicBezTo>
                  <a:cubicBezTo>
                    <a:pt x="2114" y="684"/>
                    <a:pt x="2114" y="684"/>
                    <a:pt x="2114" y="684"/>
                  </a:cubicBezTo>
                  <a:cubicBezTo>
                    <a:pt x="2166" y="684"/>
                    <a:pt x="2166" y="684"/>
                    <a:pt x="2166" y="684"/>
                  </a:cubicBezTo>
                  <a:cubicBezTo>
                    <a:pt x="2166" y="624"/>
                    <a:pt x="2166" y="624"/>
                    <a:pt x="2166" y="624"/>
                  </a:cubicBezTo>
                  <a:cubicBezTo>
                    <a:pt x="2220" y="624"/>
                    <a:pt x="2220" y="624"/>
                    <a:pt x="2220" y="624"/>
                  </a:cubicBezTo>
                  <a:cubicBezTo>
                    <a:pt x="2220" y="490"/>
                    <a:pt x="2220" y="490"/>
                    <a:pt x="2220" y="490"/>
                  </a:cubicBezTo>
                  <a:cubicBezTo>
                    <a:pt x="2220" y="470"/>
                    <a:pt x="2235" y="453"/>
                    <a:pt x="2255" y="451"/>
                  </a:cubicBezTo>
                  <a:cubicBezTo>
                    <a:pt x="2259" y="451"/>
                    <a:pt x="2259" y="451"/>
                    <a:pt x="2259" y="451"/>
                  </a:cubicBezTo>
                  <a:cubicBezTo>
                    <a:pt x="2263" y="451"/>
                    <a:pt x="2263" y="451"/>
                    <a:pt x="2263" y="451"/>
                  </a:cubicBezTo>
                  <a:cubicBezTo>
                    <a:pt x="2284" y="453"/>
                    <a:pt x="2300" y="470"/>
                    <a:pt x="2300" y="490"/>
                  </a:cubicBezTo>
                  <a:cubicBezTo>
                    <a:pt x="2300" y="624"/>
                    <a:pt x="2300" y="624"/>
                    <a:pt x="2300" y="624"/>
                  </a:cubicBezTo>
                  <a:cubicBezTo>
                    <a:pt x="2393" y="624"/>
                    <a:pt x="2393" y="624"/>
                    <a:pt x="2393" y="624"/>
                  </a:cubicBezTo>
                  <a:cubicBezTo>
                    <a:pt x="2393" y="490"/>
                    <a:pt x="2393" y="490"/>
                    <a:pt x="2393" y="490"/>
                  </a:cubicBezTo>
                  <a:cubicBezTo>
                    <a:pt x="2393" y="470"/>
                    <a:pt x="2408" y="453"/>
                    <a:pt x="2428" y="451"/>
                  </a:cubicBezTo>
                  <a:cubicBezTo>
                    <a:pt x="2432" y="450"/>
                    <a:pt x="2432" y="450"/>
                    <a:pt x="2432" y="450"/>
                  </a:cubicBezTo>
                  <a:cubicBezTo>
                    <a:pt x="2436" y="451"/>
                    <a:pt x="2436" y="451"/>
                    <a:pt x="2436" y="451"/>
                  </a:cubicBezTo>
                  <a:cubicBezTo>
                    <a:pt x="2457" y="453"/>
                    <a:pt x="2472" y="470"/>
                    <a:pt x="2472" y="490"/>
                  </a:cubicBezTo>
                  <a:cubicBezTo>
                    <a:pt x="2472" y="624"/>
                    <a:pt x="2472" y="624"/>
                    <a:pt x="2472" y="624"/>
                  </a:cubicBezTo>
                  <a:cubicBezTo>
                    <a:pt x="2631" y="624"/>
                    <a:pt x="2631" y="624"/>
                    <a:pt x="2631" y="624"/>
                  </a:cubicBezTo>
                  <a:cubicBezTo>
                    <a:pt x="2631" y="729"/>
                    <a:pt x="2631" y="729"/>
                    <a:pt x="2631" y="729"/>
                  </a:cubicBezTo>
                  <a:cubicBezTo>
                    <a:pt x="2696" y="729"/>
                    <a:pt x="2696" y="729"/>
                    <a:pt x="2696" y="729"/>
                  </a:cubicBezTo>
                  <a:cubicBezTo>
                    <a:pt x="2696" y="837"/>
                    <a:pt x="2696" y="837"/>
                    <a:pt x="2696" y="837"/>
                  </a:cubicBezTo>
                  <a:cubicBezTo>
                    <a:pt x="2745" y="837"/>
                    <a:pt x="2745" y="837"/>
                    <a:pt x="2745" y="837"/>
                  </a:cubicBezTo>
                  <a:cubicBezTo>
                    <a:pt x="2749" y="832"/>
                    <a:pt x="2749" y="832"/>
                    <a:pt x="2749" y="832"/>
                  </a:cubicBezTo>
                  <a:cubicBezTo>
                    <a:pt x="2779" y="793"/>
                    <a:pt x="2852" y="678"/>
                    <a:pt x="2872" y="443"/>
                  </a:cubicBezTo>
                  <a:cubicBezTo>
                    <a:pt x="2872" y="440"/>
                    <a:pt x="2872" y="436"/>
                    <a:pt x="2873" y="432"/>
                  </a:cubicBezTo>
                  <a:cubicBezTo>
                    <a:pt x="2874" y="417"/>
                    <a:pt x="2874" y="417"/>
                    <a:pt x="2874" y="417"/>
                  </a:cubicBezTo>
                  <a:cubicBezTo>
                    <a:pt x="2874" y="417"/>
                    <a:pt x="2874" y="417"/>
                    <a:pt x="2874" y="417"/>
                  </a:cubicBezTo>
                  <a:cubicBezTo>
                    <a:pt x="2874" y="410"/>
                    <a:pt x="2874" y="410"/>
                    <a:pt x="2874" y="410"/>
                  </a:cubicBezTo>
                  <a:cubicBezTo>
                    <a:pt x="2874" y="405"/>
                    <a:pt x="2875" y="400"/>
                    <a:pt x="2875" y="395"/>
                  </a:cubicBezTo>
                  <a:cubicBezTo>
                    <a:pt x="2877" y="350"/>
                    <a:pt x="2877" y="350"/>
                    <a:pt x="2877" y="350"/>
                  </a:cubicBezTo>
                  <a:cubicBezTo>
                    <a:pt x="2865" y="350"/>
                    <a:pt x="2865" y="350"/>
                    <a:pt x="2865" y="350"/>
                  </a:cubicBezTo>
                  <a:cubicBezTo>
                    <a:pt x="2865" y="338"/>
                    <a:pt x="2865" y="338"/>
                    <a:pt x="2865" y="338"/>
                  </a:cubicBezTo>
                  <a:cubicBezTo>
                    <a:pt x="3036" y="338"/>
                    <a:pt x="3036" y="338"/>
                    <a:pt x="3036" y="338"/>
                  </a:cubicBezTo>
                  <a:cubicBezTo>
                    <a:pt x="3036" y="350"/>
                    <a:pt x="3036" y="350"/>
                    <a:pt x="3036" y="350"/>
                  </a:cubicBezTo>
                  <a:cubicBezTo>
                    <a:pt x="3026" y="350"/>
                    <a:pt x="3026" y="350"/>
                    <a:pt x="3026" y="350"/>
                  </a:cubicBezTo>
                  <a:cubicBezTo>
                    <a:pt x="3027" y="382"/>
                    <a:pt x="3027" y="382"/>
                    <a:pt x="3027" y="382"/>
                  </a:cubicBezTo>
                  <a:cubicBezTo>
                    <a:pt x="3027" y="382"/>
                    <a:pt x="3027" y="382"/>
                    <a:pt x="3027" y="382"/>
                  </a:cubicBezTo>
                  <a:cubicBezTo>
                    <a:pt x="3027" y="394"/>
                    <a:pt x="3027" y="394"/>
                    <a:pt x="3027" y="394"/>
                  </a:cubicBezTo>
                  <a:cubicBezTo>
                    <a:pt x="3027" y="400"/>
                    <a:pt x="3027" y="405"/>
                    <a:pt x="3027" y="410"/>
                  </a:cubicBezTo>
                  <a:cubicBezTo>
                    <a:pt x="3028" y="432"/>
                    <a:pt x="3028" y="432"/>
                    <a:pt x="3028" y="432"/>
                  </a:cubicBezTo>
                  <a:cubicBezTo>
                    <a:pt x="3034" y="543"/>
                    <a:pt x="3053" y="637"/>
                    <a:pt x="3086" y="713"/>
                  </a:cubicBezTo>
                  <a:cubicBezTo>
                    <a:pt x="3113" y="777"/>
                    <a:pt x="3143" y="814"/>
                    <a:pt x="3164" y="834"/>
                  </a:cubicBezTo>
                  <a:cubicBezTo>
                    <a:pt x="3168" y="837"/>
                    <a:pt x="3168" y="837"/>
                    <a:pt x="3168" y="837"/>
                  </a:cubicBezTo>
                  <a:cubicBezTo>
                    <a:pt x="3236" y="837"/>
                    <a:pt x="3236" y="837"/>
                    <a:pt x="3236" y="837"/>
                  </a:cubicBezTo>
                  <a:cubicBezTo>
                    <a:pt x="3237" y="841"/>
                    <a:pt x="3238" y="847"/>
                    <a:pt x="3239" y="856"/>
                  </a:cubicBezTo>
                  <a:cubicBezTo>
                    <a:pt x="3241" y="854"/>
                    <a:pt x="3244" y="851"/>
                    <a:pt x="3246" y="849"/>
                  </a:cubicBezTo>
                  <a:cubicBezTo>
                    <a:pt x="3246" y="849"/>
                    <a:pt x="3246" y="848"/>
                    <a:pt x="3246" y="847"/>
                  </a:cubicBezTo>
                  <a:cubicBezTo>
                    <a:pt x="3243" y="829"/>
                    <a:pt x="3243" y="829"/>
                    <a:pt x="3239" y="829"/>
                  </a:cubicBezTo>
                  <a:cubicBezTo>
                    <a:pt x="3237" y="829"/>
                    <a:pt x="3237" y="829"/>
                    <a:pt x="3237" y="829"/>
                  </a:cubicBezTo>
                  <a:cubicBezTo>
                    <a:pt x="3237" y="829"/>
                    <a:pt x="3237" y="829"/>
                    <a:pt x="3237" y="829"/>
                  </a:cubicBezTo>
                  <a:cubicBezTo>
                    <a:pt x="3171" y="829"/>
                    <a:pt x="3171" y="829"/>
                    <a:pt x="3171" y="829"/>
                  </a:cubicBezTo>
                  <a:cubicBezTo>
                    <a:pt x="3170" y="828"/>
                    <a:pt x="3170" y="828"/>
                    <a:pt x="3170" y="828"/>
                  </a:cubicBezTo>
                  <a:cubicBezTo>
                    <a:pt x="3149" y="808"/>
                    <a:pt x="3120" y="772"/>
                    <a:pt x="3093" y="710"/>
                  </a:cubicBezTo>
                  <a:cubicBezTo>
                    <a:pt x="3061" y="635"/>
                    <a:pt x="3042" y="541"/>
                    <a:pt x="3036" y="432"/>
                  </a:cubicBezTo>
                  <a:cubicBezTo>
                    <a:pt x="3036" y="425"/>
                    <a:pt x="3036" y="425"/>
                    <a:pt x="3036" y="425"/>
                  </a:cubicBezTo>
                  <a:cubicBezTo>
                    <a:pt x="3040" y="425"/>
                    <a:pt x="3040" y="425"/>
                    <a:pt x="3040" y="425"/>
                  </a:cubicBezTo>
                  <a:cubicBezTo>
                    <a:pt x="3040" y="413"/>
                    <a:pt x="3040" y="413"/>
                    <a:pt x="3040" y="413"/>
                  </a:cubicBezTo>
                  <a:cubicBezTo>
                    <a:pt x="3035" y="413"/>
                    <a:pt x="3035" y="413"/>
                    <a:pt x="3035" y="413"/>
                  </a:cubicBezTo>
                  <a:cubicBezTo>
                    <a:pt x="3035" y="410"/>
                    <a:pt x="3035" y="410"/>
                    <a:pt x="3035" y="410"/>
                  </a:cubicBezTo>
                  <a:cubicBezTo>
                    <a:pt x="3035" y="405"/>
                    <a:pt x="3035" y="400"/>
                    <a:pt x="3035" y="394"/>
                  </a:cubicBezTo>
                  <a:cubicBezTo>
                    <a:pt x="3035" y="390"/>
                    <a:pt x="3035" y="390"/>
                    <a:pt x="3035" y="390"/>
                  </a:cubicBezTo>
                  <a:cubicBezTo>
                    <a:pt x="3040" y="390"/>
                    <a:pt x="3040" y="390"/>
                    <a:pt x="3040" y="390"/>
                  </a:cubicBezTo>
                  <a:cubicBezTo>
                    <a:pt x="3040" y="378"/>
                    <a:pt x="3040" y="378"/>
                    <a:pt x="3040" y="378"/>
                  </a:cubicBezTo>
                  <a:cubicBezTo>
                    <a:pt x="3035" y="378"/>
                    <a:pt x="3035" y="378"/>
                    <a:pt x="3035" y="378"/>
                  </a:cubicBezTo>
                  <a:cubicBezTo>
                    <a:pt x="3034" y="358"/>
                    <a:pt x="3034" y="358"/>
                    <a:pt x="3034" y="358"/>
                  </a:cubicBezTo>
                  <a:cubicBezTo>
                    <a:pt x="3044" y="358"/>
                    <a:pt x="3044" y="358"/>
                    <a:pt x="3044" y="358"/>
                  </a:cubicBezTo>
                  <a:cubicBezTo>
                    <a:pt x="3044" y="330"/>
                    <a:pt x="3044" y="330"/>
                    <a:pt x="3044" y="330"/>
                  </a:cubicBezTo>
                  <a:cubicBezTo>
                    <a:pt x="2857" y="330"/>
                    <a:pt x="2857" y="330"/>
                    <a:pt x="2857" y="330"/>
                  </a:cubicBezTo>
                  <a:cubicBezTo>
                    <a:pt x="2857" y="358"/>
                    <a:pt x="2857" y="358"/>
                    <a:pt x="2857" y="358"/>
                  </a:cubicBezTo>
                  <a:cubicBezTo>
                    <a:pt x="2868" y="358"/>
                    <a:pt x="2868" y="358"/>
                    <a:pt x="2868" y="358"/>
                  </a:cubicBezTo>
                  <a:cubicBezTo>
                    <a:pt x="2868" y="378"/>
                    <a:pt x="2868" y="378"/>
                    <a:pt x="2868" y="378"/>
                  </a:cubicBezTo>
                  <a:cubicBezTo>
                    <a:pt x="2862" y="378"/>
                    <a:pt x="2862" y="378"/>
                    <a:pt x="2862" y="378"/>
                  </a:cubicBezTo>
                  <a:cubicBezTo>
                    <a:pt x="2862" y="390"/>
                    <a:pt x="2862" y="390"/>
                    <a:pt x="2862" y="390"/>
                  </a:cubicBezTo>
                  <a:cubicBezTo>
                    <a:pt x="2867" y="390"/>
                    <a:pt x="2867" y="390"/>
                    <a:pt x="2867" y="390"/>
                  </a:cubicBezTo>
                  <a:cubicBezTo>
                    <a:pt x="2867" y="394"/>
                    <a:pt x="2867" y="394"/>
                    <a:pt x="2867" y="394"/>
                  </a:cubicBezTo>
                  <a:cubicBezTo>
                    <a:pt x="2867" y="400"/>
                    <a:pt x="2866" y="405"/>
                    <a:pt x="2866" y="410"/>
                  </a:cubicBezTo>
                  <a:cubicBezTo>
                    <a:pt x="2866" y="413"/>
                    <a:pt x="2866" y="413"/>
                    <a:pt x="2866" y="413"/>
                  </a:cubicBezTo>
                  <a:cubicBezTo>
                    <a:pt x="2862" y="413"/>
                    <a:pt x="2862" y="413"/>
                    <a:pt x="2862" y="413"/>
                  </a:cubicBezTo>
                  <a:cubicBezTo>
                    <a:pt x="2862" y="425"/>
                    <a:pt x="2862" y="425"/>
                    <a:pt x="2862" y="425"/>
                  </a:cubicBezTo>
                  <a:cubicBezTo>
                    <a:pt x="2865" y="425"/>
                    <a:pt x="2865" y="425"/>
                    <a:pt x="2865" y="425"/>
                  </a:cubicBezTo>
                  <a:cubicBezTo>
                    <a:pt x="2865" y="432"/>
                    <a:pt x="2865" y="432"/>
                    <a:pt x="2865" y="432"/>
                  </a:cubicBezTo>
                  <a:cubicBezTo>
                    <a:pt x="2864" y="435"/>
                    <a:pt x="2864" y="439"/>
                    <a:pt x="2864" y="442"/>
                  </a:cubicBezTo>
                  <a:cubicBezTo>
                    <a:pt x="2844" y="675"/>
                    <a:pt x="2772" y="789"/>
                    <a:pt x="2743" y="827"/>
                  </a:cubicBezTo>
                  <a:cubicBezTo>
                    <a:pt x="2741" y="829"/>
                    <a:pt x="2741" y="829"/>
                    <a:pt x="2741" y="829"/>
                  </a:cubicBezTo>
                  <a:cubicBezTo>
                    <a:pt x="2704" y="829"/>
                    <a:pt x="2704" y="829"/>
                    <a:pt x="2704" y="829"/>
                  </a:cubicBezTo>
                  <a:cubicBezTo>
                    <a:pt x="2704" y="721"/>
                    <a:pt x="2704" y="721"/>
                    <a:pt x="2704" y="721"/>
                  </a:cubicBezTo>
                  <a:cubicBezTo>
                    <a:pt x="2639" y="721"/>
                    <a:pt x="2639" y="721"/>
                    <a:pt x="2639" y="721"/>
                  </a:cubicBezTo>
                  <a:cubicBezTo>
                    <a:pt x="2639" y="616"/>
                    <a:pt x="2639" y="616"/>
                    <a:pt x="2639" y="616"/>
                  </a:cubicBezTo>
                  <a:cubicBezTo>
                    <a:pt x="2480" y="616"/>
                    <a:pt x="2480" y="616"/>
                    <a:pt x="2480" y="616"/>
                  </a:cubicBezTo>
                  <a:cubicBezTo>
                    <a:pt x="2480" y="490"/>
                    <a:pt x="2480" y="490"/>
                    <a:pt x="2480" y="490"/>
                  </a:cubicBezTo>
                  <a:cubicBezTo>
                    <a:pt x="2480" y="466"/>
                    <a:pt x="2461" y="445"/>
                    <a:pt x="2437" y="443"/>
                  </a:cubicBezTo>
                  <a:cubicBezTo>
                    <a:pt x="2432" y="442"/>
                    <a:pt x="2432" y="442"/>
                    <a:pt x="2432" y="442"/>
                  </a:cubicBezTo>
                  <a:cubicBezTo>
                    <a:pt x="2427" y="443"/>
                    <a:pt x="2427" y="443"/>
                    <a:pt x="2427" y="443"/>
                  </a:cubicBezTo>
                  <a:cubicBezTo>
                    <a:pt x="2403" y="446"/>
                    <a:pt x="2385" y="466"/>
                    <a:pt x="2385" y="490"/>
                  </a:cubicBezTo>
                  <a:cubicBezTo>
                    <a:pt x="2385" y="616"/>
                    <a:pt x="2385" y="616"/>
                    <a:pt x="2385" y="616"/>
                  </a:cubicBezTo>
                  <a:cubicBezTo>
                    <a:pt x="2308" y="616"/>
                    <a:pt x="2308" y="616"/>
                    <a:pt x="2308" y="616"/>
                  </a:cubicBezTo>
                  <a:cubicBezTo>
                    <a:pt x="2308" y="490"/>
                    <a:pt x="2308" y="490"/>
                    <a:pt x="2308" y="490"/>
                  </a:cubicBezTo>
                  <a:cubicBezTo>
                    <a:pt x="2308" y="466"/>
                    <a:pt x="2289" y="445"/>
                    <a:pt x="2264" y="443"/>
                  </a:cubicBezTo>
                  <a:cubicBezTo>
                    <a:pt x="2259" y="442"/>
                    <a:pt x="2259" y="442"/>
                    <a:pt x="2259" y="442"/>
                  </a:cubicBezTo>
                  <a:cubicBezTo>
                    <a:pt x="2254" y="443"/>
                    <a:pt x="2254" y="443"/>
                    <a:pt x="2254" y="443"/>
                  </a:cubicBezTo>
                  <a:cubicBezTo>
                    <a:pt x="2230" y="446"/>
                    <a:pt x="2212" y="466"/>
                    <a:pt x="2212" y="490"/>
                  </a:cubicBezTo>
                  <a:cubicBezTo>
                    <a:pt x="2212" y="616"/>
                    <a:pt x="2212" y="616"/>
                    <a:pt x="2212" y="616"/>
                  </a:cubicBezTo>
                  <a:cubicBezTo>
                    <a:pt x="2158" y="616"/>
                    <a:pt x="2158" y="616"/>
                    <a:pt x="2158" y="616"/>
                  </a:cubicBezTo>
                  <a:cubicBezTo>
                    <a:pt x="2158" y="676"/>
                    <a:pt x="2158" y="676"/>
                    <a:pt x="2158" y="676"/>
                  </a:cubicBezTo>
                  <a:cubicBezTo>
                    <a:pt x="2116" y="676"/>
                    <a:pt x="2116" y="676"/>
                    <a:pt x="2116" y="676"/>
                  </a:cubicBezTo>
                  <a:cubicBezTo>
                    <a:pt x="2115" y="675"/>
                    <a:pt x="2115" y="675"/>
                    <a:pt x="2115" y="675"/>
                  </a:cubicBezTo>
                  <a:cubicBezTo>
                    <a:pt x="2080" y="657"/>
                    <a:pt x="2055" y="615"/>
                    <a:pt x="2043" y="552"/>
                  </a:cubicBezTo>
                  <a:cubicBezTo>
                    <a:pt x="2043" y="551"/>
                    <a:pt x="2043" y="551"/>
                    <a:pt x="2043" y="551"/>
                  </a:cubicBezTo>
                  <a:cubicBezTo>
                    <a:pt x="2044" y="549"/>
                    <a:pt x="2044" y="549"/>
                    <a:pt x="2044" y="549"/>
                  </a:cubicBezTo>
                  <a:cubicBezTo>
                    <a:pt x="2057" y="534"/>
                    <a:pt x="2065" y="515"/>
                    <a:pt x="2068" y="496"/>
                  </a:cubicBezTo>
                  <a:cubicBezTo>
                    <a:pt x="2068" y="492"/>
                    <a:pt x="2068" y="492"/>
                    <a:pt x="2068" y="492"/>
                  </a:cubicBezTo>
                  <a:cubicBezTo>
                    <a:pt x="2079" y="492"/>
                    <a:pt x="2079" y="492"/>
                    <a:pt x="2079" y="492"/>
                  </a:cubicBezTo>
                  <a:cubicBezTo>
                    <a:pt x="2079" y="458"/>
                    <a:pt x="2079" y="458"/>
                    <a:pt x="2079" y="458"/>
                  </a:cubicBezTo>
                  <a:cubicBezTo>
                    <a:pt x="2069" y="458"/>
                    <a:pt x="2069" y="458"/>
                    <a:pt x="2069" y="458"/>
                  </a:cubicBezTo>
                  <a:cubicBezTo>
                    <a:pt x="2069" y="372"/>
                    <a:pt x="2069" y="372"/>
                    <a:pt x="2069" y="372"/>
                  </a:cubicBezTo>
                  <a:cubicBezTo>
                    <a:pt x="2072" y="372"/>
                    <a:pt x="2072" y="372"/>
                    <a:pt x="2072" y="372"/>
                  </a:cubicBezTo>
                  <a:cubicBezTo>
                    <a:pt x="2072" y="361"/>
                    <a:pt x="2072" y="361"/>
                    <a:pt x="2072" y="361"/>
                  </a:cubicBezTo>
                  <a:cubicBezTo>
                    <a:pt x="2069" y="361"/>
                    <a:pt x="2069" y="361"/>
                    <a:pt x="2069" y="361"/>
                  </a:cubicBezTo>
                  <a:cubicBezTo>
                    <a:pt x="2069" y="300"/>
                    <a:pt x="2069" y="300"/>
                    <a:pt x="2069" y="300"/>
                  </a:cubicBezTo>
                  <a:cubicBezTo>
                    <a:pt x="2069" y="251"/>
                    <a:pt x="2034" y="210"/>
                    <a:pt x="1986" y="201"/>
                  </a:cubicBezTo>
                  <a:cubicBezTo>
                    <a:pt x="1982" y="201"/>
                    <a:pt x="1982" y="201"/>
                    <a:pt x="1982" y="201"/>
                  </a:cubicBezTo>
                  <a:cubicBezTo>
                    <a:pt x="1982" y="183"/>
                    <a:pt x="1982" y="183"/>
                    <a:pt x="1982" y="183"/>
                  </a:cubicBezTo>
                  <a:cubicBezTo>
                    <a:pt x="1957" y="183"/>
                    <a:pt x="1957" y="183"/>
                    <a:pt x="1957" y="183"/>
                  </a:cubicBezTo>
                  <a:cubicBezTo>
                    <a:pt x="1957" y="200"/>
                    <a:pt x="1957" y="200"/>
                    <a:pt x="1957" y="200"/>
                  </a:cubicBezTo>
                  <a:cubicBezTo>
                    <a:pt x="1954" y="201"/>
                    <a:pt x="1954" y="201"/>
                    <a:pt x="1954" y="201"/>
                  </a:cubicBezTo>
                  <a:cubicBezTo>
                    <a:pt x="1905" y="208"/>
                    <a:pt x="1868" y="251"/>
                    <a:pt x="1868" y="300"/>
                  </a:cubicBezTo>
                  <a:cubicBezTo>
                    <a:pt x="1868" y="361"/>
                    <a:pt x="1868" y="361"/>
                    <a:pt x="1868" y="361"/>
                  </a:cubicBezTo>
                  <a:cubicBezTo>
                    <a:pt x="1866" y="361"/>
                    <a:pt x="1866" y="361"/>
                    <a:pt x="1866" y="361"/>
                  </a:cubicBezTo>
                  <a:cubicBezTo>
                    <a:pt x="1866" y="372"/>
                    <a:pt x="1866" y="372"/>
                    <a:pt x="1866" y="372"/>
                  </a:cubicBezTo>
                  <a:cubicBezTo>
                    <a:pt x="1868" y="372"/>
                    <a:pt x="1868" y="372"/>
                    <a:pt x="1868" y="372"/>
                  </a:cubicBezTo>
                  <a:cubicBezTo>
                    <a:pt x="1868" y="458"/>
                    <a:pt x="1868" y="458"/>
                    <a:pt x="1868" y="458"/>
                  </a:cubicBezTo>
                  <a:cubicBezTo>
                    <a:pt x="1860" y="458"/>
                    <a:pt x="1860" y="458"/>
                    <a:pt x="1860" y="458"/>
                  </a:cubicBezTo>
                  <a:cubicBezTo>
                    <a:pt x="1860" y="492"/>
                    <a:pt x="1860" y="492"/>
                    <a:pt x="1860" y="492"/>
                  </a:cubicBezTo>
                  <a:cubicBezTo>
                    <a:pt x="1868" y="492"/>
                    <a:pt x="1868" y="492"/>
                    <a:pt x="1868" y="492"/>
                  </a:cubicBezTo>
                  <a:cubicBezTo>
                    <a:pt x="1869" y="496"/>
                    <a:pt x="1869" y="496"/>
                    <a:pt x="1869" y="496"/>
                  </a:cubicBezTo>
                  <a:cubicBezTo>
                    <a:pt x="1871" y="518"/>
                    <a:pt x="1881" y="538"/>
                    <a:pt x="1897" y="554"/>
                  </a:cubicBezTo>
                  <a:cubicBezTo>
                    <a:pt x="1898" y="556"/>
                    <a:pt x="1898" y="556"/>
                    <a:pt x="1898" y="556"/>
                  </a:cubicBezTo>
                  <a:cubicBezTo>
                    <a:pt x="1898" y="558"/>
                    <a:pt x="1898" y="558"/>
                    <a:pt x="1898" y="558"/>
                  </a:cubicBezTo>
                  <a:cubicBezTo>
                    <a:pt x="1886" y="617"/>
                    <a:pt x="1862" y="657"/>
                    <a:pt x="1827" y="675"/>
                  </a:cubicBezTo>
                  <a:cubicBezTo>
                    <a:pt x="1826" y="676"/>
                    <a:pt x="1826" y="676"/>
                    <a:pt x="1826" y="676"/>
                  </a:cubicBezTo>
                  <a:cubicBezTo>
                    <a:pt x="1783" y="676"/>
                    <a:pt x="1783" y="676"/>
                    <a:pt x="1783" y="676"/>
                  </a:cubicBezTo>
                  <a:cubicBezTo>
                    <a:pt x="1783" y="689"/>
                    <a:pt x="1783" y="689"/>
                    <a:pt x="1783" y="689"/>
                  </a:cubicBezTo>
                  <a:cubicBezTo>
                    <a:pt x="1694" y="689"/>
                    <a:pt x="1694" y="689"/>
                    <a:pt x="1694" y="689"/>
                  </a:cubicBezTo>
                  <a:cubicBezTo>
                    <a:pt x="1694" y="565"/>
                    <a:pt x="1694" y="565"/>
                    <a:pt x="1694" y="565"/>
                  </a:cubicBezTo>
                  <a:cubicBezTo>
                    <a:pt x="1603" y="565"/>
                    <a:pt x="1603" y="565"/>
                    <a:pt x="1603" y="565"/>
                  </a:cubicBezTo>
                  <a:cubicBezTo>
                    <a:pt x="1592" y="433"/>
                    <a:pt x="1592" y="433"/>
                    <a:pt x="1592" y="433"/>
                  </a:cubicBezTo>
                  <a:cubicBezTo>
                    <a:pt x="1574" y="433"/>
                    <a:pt x="1574" y="433"/>
                    <a:pt x="1574" y="433"/>
                  </a:cubicBezTo>
                  <a:cubicBezTo>
                    <a:pt x="1568" y="19"/>
                    <a:pt x="1568" y="19"/>
                    <a:pt x="1568" y="19"/>
                  </a:cubicBezTo>
                  <a:cubicBezTo>
                    <a:pt x="1570" y="18"/>
                    <a:pt x="1570" y="18"/>
                    <a:pt x="1570" y="18"/>
                  </a:cubicBezTo>
                  <a:cubicBezTo>
                    <a:pt x="1574" y="17"/>
                    <a:pt x="1576" y="13"/>
                    <a:pt x="1576" y="10"/>
                  </a:cubicBezTo>
                  <a:cubicBezTo>
                    <a:pt x="1576" y="4"/>
                    <a:pt x="1572" y="0"/>
                    <a:pt x="1566" y="0"/>
                  </a:cubicBezTo>
                  <a:cubicBezTo>
                    <a:pt x="1518" y="0"/>
                    <a:pt x="1518" y="0"/>
                    <a:pt x="1518" y="0"/>
                  </a:cubicBezTo>
                  <a:cubicBezTo>
                    <a:pt x="1512" y="0"/>
                    <a:pt x="1508" y="4"/>
                    <a:pt x="1508" y="10"/>
                  </a:cubicBezTo>
                  <a:cubicBezTo>
                    <a:pt x="1508" y="14"/>
                    <a:pt x="1511" y="17"/>
                    <a:pt x="1515" y="19"/>
                  </a:cubicBezTo>
                  <a:cubicBezTo>
                    <a:pt x="1518" y="20"/>
                    <a:pt x="1518" y="20"/>
                    <a:pt x="1518" y="20"/>
                  </a:cubicBezTo>
                  <a:cubicBezTo>
                    <a:pt x="1510" y="433"/>
                    <a:pt x="1510" y="433"/>
                    <a:pt x="1510" y="433"/>
                  </a:cubicBezTo>
                  <a:cubicBezTo>
                    <a:pt x="1497" y="433"/>
                    <a:pt x="1497" y="433"/>
                    <a:pt x="1497" y="433"/>
                  </a:cubicBezTo>
                  <a:cubicBezTo>
                    <a:pt x="1484" y="565"/>
                    <a:pt x="1484" y="565"/>
                    <a:pt x="1484" y="565"/>
                  </a:cubicBezTo>
                  <a:cubicBezTo>
                    <a:pt x="1396" y="565"/>
                    <a:pt x="1396" y="565"/>
                    <a:pt x="1396" y="565"/>
                  </a:cubicBezTo>
                  <a:cubicBezTo>
                    <a:pt x="1386" y="433"/>
                    <a:pt x="1386" y="433"/>
                    <a:pt x="1386" y="433"/>
                  </a:cubicBezTo>
                  <a:cubicBezTo>
                    <a:pt x="1367" y="433"/>
                    <a:pt x="1367" y="433"/>
                    <a:pt x="1367" y="433"/>
                  </a:cubicBezTo>
                  <a:cubicBezTo>
                    <a:pt x="1362" y="116"/>
                    <a:pt x="1362" y="116"/>
                    <a:pt x="1362" y="116"/>
                  </a:cubicBezTo>
                  <a:cubicBezTo>
                    <a:pt x="1363" y="115"/>
                    <a:pt x="1363" y="115"/>
                    <a:pt x="1363" y="115"/>
                  </a:cubicBezTo>
                  <a:cubicBezTo>
                    <a:pt x="1366" y="113"/>
                    <a:pt x="1368" y="110"/>
                    <a:pt x="1368" y="107"/>
                  </a:cubicBezTo>
                  <a:cubicBezTo>
                    <a:pt x="1368" y="101"/>
                    <a:pt x="1363" y="97"/>
                    <a:pt x="1358" y="97"/>
                  </a:cubicBezTo>
                  <a:cubicBezTo>
                    <a:pt x="1309" y="97"/>
                    <a:pt x="1309" y="97"/>
                    <a:pt x="1309" y="97"/>
                  </a:cubicBezTo>
                  <a:cubicBezTo>
                    <a:pt x="1304" y="97"/>
                    <a:pt x="1300" y="101"/>
                    <a:pt x="1300" y="107"/>
                  </a:cubicBezTo>
                  <a:cubicBezTo>
                    <a:pt x="1300" y="111"/>
                    <a:pt x="1303" y="115"/>
                    <a:pt x="1308" y="116"/>
                  </a:cubicBezTo>
                  <a:cubicBezTo>
                    <a:pt x="1311" y="117"/>
                    <a:pt x="1311" y="117"/>
                    <a:pt x="1311" y="117"/>
                  </a:cubicBezTo>
                  <a:cubicBezTo>
                    <a:pt x="1304" y="433"/>
                    <a:pt x="1304" y="433"/>
                    <a:pt x="1304" y="433"/>
                  </a:cubicBezTo>
                  <a:cubicBezTo>
                    <a:pt x="1291" y="433"/>
                    <a:pt x="1291" y="433"/>
                    <a:pt x="1291" y="433"/>
                  </a:cubicBezTo>
                  <a:cubicBezTo>
                    <a:pt x="1277" y="565"/>
                    <a:pt x="1277" y="565"/>
                    <a:pt x="1277" y="565"/>
                  </a:cubicBezTo>
                  <a:cubicBezTo>
                    <a:pt x="1197" y="565"/>
                    <a:pt x="1197" y="565"/>
                    <a:pt x="1197" y="565"/>
                  </a:cubicBezTo>
                  <a:cubicBezTo>
                    <a:pt x="1187" y="433"/>
                    <a:pt x="1187" y="433"/>
                    <a:pt x="1187" y="433"/>
                  </a:cubicBezTo>
                  <a:cubicBezTo>
                    <a:pt x="1171" y="433"/>
                    <a:pt x="1171" y="433"/>
                    <a:pt x="1171" y="433"/>
                  </a:cubicBezTo>
                  <a:cubicBezTo>
                    <a:pt x="1167" y="228"/>
                    <a:pt x="1167" y="228"/>
                    <a:pt x="1167" y="228"/>
                  </a:cubicBezTo>
                  <a:cubicBezTo>
                    <a:pt x="1169" y="227"/>
                    <a:pt x="1169" y="227"/>
                    <a:pt x="1169" y="227"/>
                  </a:cubicBezTo>
                  <a:cubicBezTo>
                    <a:pt x="1173" y="225"/>
                    <a:pt x="1175" y="222"/>
                    <a:pt x="1175" y="218"/>
                  </a:cubicBezTo>
                  <a:cubicBezTo>
                    <a:pt x="1175" y="213"/>
                    <a:pt x="1170" y="208"/>
                    <a:pt x="1165" y="208"/>
                  </a:cubicBezTo>
                  <a:cubicBezTo>
                    <a:pt x="1116" y="208"/>
                    <a:pt x="1116" y="208"/>
                    <a:pt x="1116" y="208"/>
                  </a:cubicBezTo>
                  <a:cubicBezTo>
                    <a:pt x="1111" y="208"/>
                    <a:pt x="1107" y="213"/>
                    <a:pt x="1107" y="218"/>
                  </a:cubicBezTo>
                  <a:cubicBezTo>
                    <a:pt x="1107" y="222"/>
                    <a:pt x="1109" y="226"/>
                    <a:pt x="1114" y="227"/>
                  </a:cubicBezTo>
                  <a:cubicBezTo>
                    <a:pt x="1117" y="228"/>
                    <a:pt x="1117" y="228"/>
                    <a:pt x="1117" y="228"/>
                  </a:cubicBezTo>
                  <a:cubicBezTo>
                    <a:pt x="1111" y="433"/>
                    <a:pt x="1111" y="433"/>
                    <a:pt x="1111" y="433"/>
                  </a:cubicBezTo>
                  <a:cubicBezTo>
                    <a:pt x="1092" y="433"/>
                    <a:pt x="1092" y="433"/>
                    <a:pt x="1092" y="433"/>
                  </a:cubicBezTo>
                  <a:cubicBezTo>
                    <a:pt x="1078" y="565"/>
                    <a:pt x="1078" y="565"/>
                    <a:pt x="1078" y="565"/>
                  </a:cubicBezTo>
                  <a:cubicBezTo>
                    <a:pt x="973" y="565"/>
                    <a:pt x="973" y="565"/>
                    <a:pt x="973" y="565"/>
                  </a:cubicBezTo>
                  <a:cubicBezTo>
                    <a:pt x="973" y="689"/>
                    <a:pt x="973" y="689"/>
                    <a:pt x="973" y="689"/>
                  </a:cubicBezTo>
                  <a:cubicBezTo>
                    <a:pt x="867" y="684"/>
                    <a:pt x="867" y="684"/>
                    <a:pt x="867" y="684"/>
                  </a:cubicBezTo>
                  <a:cubicBezTo>
                    <a:pt x="867" y="463"/>
                    <a:pt x="867" y="463"/>
                    <a:pt x="867" y="463"/>
                  </a:cubicBezTo>
                  <a:cubicBezTo>
                    <a:pt x="677" y="520"/>
                    <a:pt x="677" y="520"/>
                    <a:pt x="677" y="520"/>
                  </a:cubicBezTo>
                  <a:cubicBezTo>
                    <a:pt x="677" y="463"/>
                    <a:pt x="677" y="463"/>
                    <a:pt x="677" y="463"/>
                  </a:cubicBezTo>
                  <a:cubicBezTo>
                    <a:pt x="486" y="520"/>
                    <a:pt x="486" y="520"/>
                    <a:pt x="486" y="520"/>
                  </a:cubicBezTo>
                  <a:cubicBezTo>
                    <a:pt x="486" y="463"/>
                    <a:pt x="486" y="463"/>
                    <a:pt x="486" y="463"/>
                  </a:cubicBezTo>
                  <a:cubicBezTo>
                    <a:pt x="294" y="521"/>
                    <a:pt x="294" y="521"/>
                    <a:pt x="294" y="521"/>
                  </a:cubicBezTo>
                  <a:cubicBezTo>
                    <a:pt x="294" y="684"/>
                    <a:pt x="294" y="684"/>
                    <a:pt x="294" y="684"/>
                  </a:cubicBezTo>
                  <a:cubicBezTo>
                    <a:pt x="199" y="684"/>
                    <a:pt x="199" y="684"/>
                    <a:pt x="199" y="684"/>
                  </a:cubicBezTo>
                  <a:cubicBezTo>
                    <a:pt x="185" y="252"/>
                    <a:pt x="185" y="252"/>
                    <a:pt x="185" y="252"/>
                  </a:cubicBezTo>
                  <a:cubicBezTo>
                    <a:pt x="193" y="251"/>
                    <a:pt x="200" y="245"/>
                    <a:pt x="200" y="236"/>
                  </a:cubicBezTo>
                  <a:cubicBezTo>
                    <a:pt x="200" y="228"/>
                    <a:pt x="193" y="221"/>
                    <a:pt x="184" y="221"/>
                  </a:cubicBezTo>
                  <a:cubicBezTo>
                    <a:pt x="80" y="221"/>
                    <a:pt x="80" y="221"/>
                    <a:pt x="80" y="221"/>
                  </a:cubicBezTo>
                  <a:cubicBezTo>
                    <a:pt x="72" y="221"/>
                    <a:pt x="65" y="228"/>
                    <a:pt x="65" y="236"/>
                  </a:cubicBezTo>
                  <a:cubicBezTo>
                    <a:pt x="65" y="244"/>
                    <a:pt x="71" y="251"/>
                    <a:pt x="79" y="252"/>
                  </a:cubicBezTo>
                  <a:cubicBezTo>
                    <a:pt x="62" y="723"/>
                    <a:pt x="62" y="723"/>
                    <a:pt x="62" y="723"/>
                  </a:cubicBezTo>
                  <a:cubicBezTo>
                    <a:pt x="40" y="721"/>
                    <a:pt x="10" y="718"/>
                    <a:pt x="7" y="716"/>
                  </a:cubicBezTo>
                  <a:cubicBezTo>
                    <a:pt x="8" y="717"/>
                    <a:pt x="9" y="718"/>
                    <a:pt x="9" y="720"/>
                  </a:cubicBezTo>
                  <a:cubicBezTo>
                    <a:pt x="1" y="719"/>
                    <a:pt x="1" y="719"/>
                    <a:pt x="1" y="719"/>
                  </a:cubicBezTo>
                  <a:cubicBezTo>
                    <a:pt x="1" y="722"/>
                    <a:pt x="1" y="722"/>
                    <a:pt x="1" y="722"/>
                  </a:cubicBezTo>
                  <a:cubicBezTo>
                    <a:pt x="0" y="771"/>
                    <a:pt x="0" y="771"/>
                    <a:pt x="0" y="771"/>
                  </a:cubicBezTo>
                  <a:cubicBezTo>
                    <a:pt x="3" y="772"/>
                    <a:pt x="6" y="774"/>
                    <a:pt x="8" y="776"/>
                  </a:cubicBezTo>
                  <a:close/>
                </a:path>
              </a:pathLst>
            </a:cu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4688" y="4520206"/>
            <a:ext cx="10845800" cy="558799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9451" y="1859556"/>
            <a:ext cx="10845800" cy="2477922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837829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837829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43156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2" name="矩形 9791">
            <a:extLst>
              <a:ext uri="{FF2B5EF4-FFF2-40B4-BE49-F238E27FC236}">
                <a16:creationId xmlns="" xmlns:a16="http://schemas.microsoft.com/office/drawing/2014/main" id="{22211B81-DF9C-4635-BA56-35555599CCE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1" name="组合 30">
            <a:extLst>
              <a:ext uri="{FF2B5EF4-FFF2-40B4-BE49-F238E27FC236}">
                <a16:creationId xmlns="" xmlns:a16="http://schemas.microsoft.com/office/drawing/2014/main" id="{31DBFAA4-AC9F-4FAD-B778-21ACE40CC918}"/>
              </a:ext>
            </a:extLst>
          </p:cNvPr>
          <p:cNvGrpSpPr/>
          <p:nvPr userDrawn="1"/>
        </p:nvGrpSpPr>
        <p:grpSpPr>
          <a:xfrm>
            <a:off x="817563" y="3175000"/>
            <a:ext cx="10702925" cy="3683000"/>
            <a:chOff x="744538" y="1584325"/>
            <a:chExt cx="10702925" cy="3683000"/>
          </a:xfrm>
          <a:solidFill>
            <a:schemeClr val="bg1">
              <a:alpha val="17000"/>
            </a:schemeClr>
          </a:solidFill>
        </p:grpSpPr>
        <p:sp>
          <p:nvSpPr>
            <p:cNvPr id="6" name="Rectangle 5">
              <a:extLst>
                <a:ext uri="{FF2B5EF4-FFF2-40B4-BE49-F238E27FC236}">
                  <a16:creationId xmlns="" xmlns:a16="http://schemas.microsoft.com/office/drawing/2014/main" id="{07F6A65E-08CA-4A18-BE26-F171EB6CF5E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46288" y="4478338"/>
              <a:ext cx="106363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="" xmlns:a16="http://schemas.microsoft.com/office/drawing/2014/main" id="{2978079F-4624-4021-9CA3-04942E37958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532063" y="4478338"/>
              <a:ext cx="101600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="" xmlns:a16="http://schemas.microsoft.com/office/drawing/2014/main" id="{6C74C47C-AA3E-45F9-B019-B490D1045C0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86051" y="4478338"/>
              <a:ext cx="106363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="" xmlns:a16="http://schemas.microsoft.com/office/drawing/2014/main" id="{43987C17-9468-4F0A-B62A-148ED7CA5C4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17851" y="4478338"/>
              <a:ext cx="103188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="" xmlns:a16="http://schemas.microsoft.com/office/drawing/2014/main" id="{2D392D9A-7E47-44C0-B007-B673C443DF0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73426" y="4478338"/>
              <a:ext cx="106363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="" xmlns:a16="http://schemas.microsoft.com/office/drawing/2014/main" id="{32CAD03A-4C0D-4EAA-9A26-C71629177FC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77201" y="4699000"/>
              <a:ext cx="1101725" cy="8890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4" name="Rectangle 11">
              <a:extLst>
                <a:ext uri="{FF2B5EF4-FFF2-40B4-BE49-F238E27FC236}">
                  <a16:creationId xmlns="" xmlns:a16="http://schemas.microsoft.com/office/drawing/2014/main" id="{F7134F00-5227-48E0-A1F0-563AB0FEA16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77201" y="4854575"/>
              <a:ext cx="1101725" cy="8890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5" name="Rectangle 12">
              <a:extLst>
                <a:ext uri="{FF2B5EF4-FFF2-40B4-BE49-F238E27FC236}">
                  <a16:creationId xmlns="" xmlns:a16="http://schemas.microsoft.com/office/drawing/2014/main" id="{5470E1F3-ECB5-4218-BDCF-2E56412EBD1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57663" y="4603750"/>
              <a:ext cx="101600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6" name="Rectangle 13">
              <a:extLst>
                <a:ext uri="{FF2B5EF4-FFF2-40B4-BE49-F238E27FC236}">
                  <a16:creationId xmlns="" xmlns:a16="http://schemas.microsoft.com/office/drawing/2014/main" id="{86FBB4F4-A6AB-40FE-A0A6-FA31CB2D666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11651" y="4603750"/>
              <a:ext cx="103188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7" name="Rectangle 14">
              <a:extLst>
                <a:ext uri="{FF2B5EF4-FFF2-40B4-BE49-F238E27FC236}">
                  <a16:creationId xmlns="" xmlns:a16="http://schemas.microsoft.com/office/drawing/2014/main" id="{BEC3C37F-A752-4F5B-B610-CC7E6EF1F9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86276" y="4603750"/>
              <a:ext cx="103188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8" name="Rectangle 15">
              <a:extLst>
                <a:ext uri="{FF2B5EF4-FFF2-40B4-BE49-F238E27FC236}">
                  <a16:creationId xmlns="" xmlns:a16="http://schemas.microsoft.com/office/drawing/2014/main" id="{0BDC3375-B3D3-467B-9086-8339FB6DD18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641851" y="4603750"/>
              <a:ext cx="104775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9" name="Rectangle 16">
              <a:extLst>
                <a:ext uri="{FF2B5EF4-FFF2-40B4-BE49-F238E27FC236}">
                  <a16:creationId xmlns="" xmlns:a16="http://schemas.microsoft.com/office/drawing/2014/main" id="{68888DE7-1D00-4CE5-AAA0-C26EF0D2D72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816476" y="4603750"/>
              <a:ext cx="106363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" name="Rectangle 17">
              <a:extLst>
                <a:ext uri="{FF2B5EF4-FFF2-40B4-BE49-F238E27FC236}">
                  <a16:creationId xmlns="" xmlns:a16="http://schemas.microsoft.com/office/drawing/2014/main" id="{B0BC2A9D-A44C-4E66-BB5F-8C4502F795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72051" y="4603750"/>
              <a:ext cx="104775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" name="Rectangle 18">
              <a:extLst>
                <a:ext uri="{FF2B5EF4-FFF2-40B4-BE49-F238E27FC236}">
                  <a16:creationId xmlns="" xmlns:a16="http://schemas.microsoft.com/office/drawing/2014/main" id="{98AE2389-3E02-4081-8DD7-04EA81E2402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46676" y="4603750"/>
              <a:ext cx="104775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2" name="Rectangle 19">
              <a:extLst>
                <a:ext uri="{FF2B5EF4-FFF2-40B4-BE49-F238E27FC236}">
                  <a16:creationId xmlns="" xmlns:a16="http://schemas.microsoft.com/office/drawing/2014/main" id="{5559C308-2BF5-4B7E-818F-CD1A7DD8B84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00663" y="4603750"/>
              <a:ext cx="106363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3" name="Rectangle 20">
              <a:extLst>
                <a:ext uri="{FF2B5EF4-FFF2-40B4-BE49-F238E27FC236}">
                  <a16:creationId xmlns="" xmlns:a16="http://schemas.microsoft.com/office/drawing/2014/main" id="{5ECB3F3E-9BEE-4057-9589-4A20DB8F55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5288" y="4603750"/>
              <a:ext cx="106363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4" name="Rectangle 21">
              <a:extLst>
                <a:ext uri="{FF2B5EF4-FFF2-40B4-BE49-F238E27FC236}">
                  <a16:creationId xmlns="" xmlns:a16="http://schemas.microsoft.com/office/drawing/2014/main" id="{20ADAC72-7ACB-472D-A047-4EAF78D451F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34038" y="4603750"/>
              <a:ext cx="103188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5" name="Rectangle 22">
              <a:extLst>
                <a:ext uri="{FF2B5EF4-FFF2-40B4-BE49-F238E27FC236}">
                  <a16:creationId xmlns="" xmlns:a16="http://schemas.microsoft.com/office/drawing/2014/main" id="{BBEDC840-FE57-4A8C-A8BB-6538FF6DCF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808663" y="4603750"/>
              <a:ext cx="103188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6" name="Rectangle 23">
              <a:extLst>
                <a:ext uri="{FF2B5EF4-FFF2-40B4-BE49-F238E27FC236}">
                  <a16:creationId xmlns="" xmlns:a16="http://schemas.microsoft.com/office/drawing/2014/main" id="{7519A4C1-179E-4584-816E-BB4E0B9490C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64238" y="4603750"/>
              <a:ext cx="101600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7" name="Freeform 24">
              <a:extLst>
                <a:ext uri="{FF2B5EF4-FFF2-40B4-BE49-F238E27FC236}">
                  <a16:creationId xmlns="" xmlns:a16="http://schemas.microsoft.com/office/drawing/2014/main" id="{E14551D9-01C2-49F5-A4A8-7A45471B0E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69551" y="2533650"/>
              <a:ext cx="661988" cy="777875"/>
            </a:xfrm>
            <a:custGeom>
              <a:avLst/>
              <a:gdLst>
                <a:gd name="T0" fmla="*/ 201 w 201"/>
                <a:gd name="T1" fmla="*/ 43 h 236"/>
                <a:gd name="T2" fmla="*/ 160 w 201"/>
                <a:gd name="T3" fmla="*/ 86 h 236"/>
                <a:gd name="T4" fmla="*/ 148 w 201"/>
                <a:gd name="T5" fmla="*/ 87 h 236"/>
                <a:gd name="T6" fmla="*/ 154 w 201"/>
                <a:gd name="T7" fmla="*/ 98 h 236"/>
                <a:gd name="T8" fmla="*/ 161 w 201"/>
                <a:gd name="T9" fmla="*/ 125 h 236"/>
                <a:gd name="T10" fmla="*/ 113 w 201"/>
                <a:gd name="T11" fmla="*/ 181 h 236"/>
                <a:gd name="T12" fmla="*/ 106 w 201"/>
                <a:gd name="T13" fmla="*/ 182 h 236"/>
                <a:gd name="T14" fmla="*/ 106 w 201"/>
                <a:gd name="T15" fmla="*/ 188 h 236"/>
                <a:gd name="T16" fmla="*/ 53 w 201"/>
                <a:gd name="T17" fmla="*/ 236 h 236"/>
                <a:gd name="T18" fmla="*/ 0 w 201"/>
                <a:gd name="T19" fmla="*/ 183 h 236"/>
                <a:gd name="T20" fmla="*/ 41 w 201"/>
                <a:gd name="T21" fmla="*/ 131 h 236"/>
                <a:gd name="T22" fmla="*/ 47 w 201"/>
                <a:gd name="T23" fmla="*/ 129 h 236"/>
                <a:gd name="T24" fmla="*/ 47 w 201"/>
                <a:gd name="T25" fmla="*/ 123 h 236"/>
                <a:gd name="T26" fmla="*/ 49 w 201"/>
                <a:gd name="T27" fmla="*/ 110 h 236"/>
                <a:gd name="T28" fmla="*/ 50 w 201"/>
                <a:gd name="T29" fmla="*/ 107 h 236"/>
                <a:gd name="T30" fmla="*/ 48 w 201"/>
                <a:gd name="T31" fmla="*/ 104 h 236"/>
                <a:gd name="T32" fmla="*/ 41 w 201"/>
                <a:gd name="T33" fmla="*/ 77 h 236"/>
                <a:gd name="T34" fmla="*/ 90 w 201"/>
                <a:gd name="T35" fmla="*/ 27 h 236"/>
                <a:gd name="T36" fmla="*/ 108 w 201"/>
                <a:gd name="T37" fmla="*/ 31 h 236"/>
                <a:gd name="T38" fmla="*/ 116 w 201"/>
                <a:gd name="T39" fmla="*/ 34 h 236"/>
                <a:gd name="T40" fmla="*/ 119 w 201"/>
                <a:gd name="T41" fmla="*/ 26 h 236"/>
                <a:gd name="T42" fmla="*/ 158 w 201"/>
                <a:gd name="T43" fmla="*/ 0 h 236"/>
                <a:gd name="T44" fmla="*/ 201 w 201"/>
                <a:gd name="T45" fmla="*/ 43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1" h="236">
                  <a:moveTo>
                    <a:pt x="201" y="43"/>
                  </a:moveTo>
                  <a:cubicBezTo>
                    <a:pt x="201" y="66"/>
                    <a:pt x="183" y="85"/>
                    <a:pt x="160" y="86"/>
                  </a:cubicBezTo>
                  <a:cubicBezTo>
                    <a:pt x="148" y="87"/>
                    <a:pt x="148" y="87"/>
                    <a:pt x="148" y="87"/>
                  </a:cubicBezTo>
                  <a:cubicBezTo>
                    <a:pt x="154" y="98"/>
                    <a:pt x="154" y="98"/>
                    <a:pt x="154" y="98"/>
                  </a:cubicBezTo>
                  <a:cubicBezTo>
                    <a:pt x="158" y="106"/>
                    <a:pt x="161" y="115"/>
                    <a:pt x="161" y="125"/>
                  </a:cubicBezTo>
                  <a:cubicBezTo>
                    <a:pt x="161" y="153"/>
                    <a:pt x="140" y="176"/>
                    <a:pt x="113" y="181"/>
                  </a:cubicBezTo>
                  <a:cubicBezTo>
                    <a:pt x="106" y="182"/>
                    <a:pt x="106" y="182"/>
                    <a:pt x="106" y="182"/>
                  </a:cubicBezTo>
                  <a:cubicBezTo>
                    <a:pt x="106" y="188"/>
                    <a:pt x="106" y="188"/>
                    <a:pt x="106" y="188"/>
                  </a:cubicBezTo>
                  <a:cubicBezTo>
                    <a:pt x="103" y="215"/>
                    <a:pt x="80" y="236"/>
                    <a:pt x="53" y="236"/>
                  </a:cubicBezTo>
                  <a:cubicBezTo>
                    <a:pt x="24" y="236"/>
                    <a:pt x="0" y="212"/>
                    <a:pt x="0" y="183"/>
                  </a:cubicBezTo>
                  <a:cubicBezTo>
                    <a:pt x="0" y="158"/>
                    <a:pt x="17" y="136"/>
                    <a:pt x="41" y="131"/>
                  </a:cubicBezTo>
                  <a:cubicBezTo>
                    <a:pt x="47" y="129"/>
                    <a:pt x="47" y="129"/>
                    <a:pt x="47" y="129"/>
                  </a:cubicBezTo>
                  <a:cubicBezTo>
                    <a:pt x="47" y="123"/>
                    <a:pt x="47" y="123"/>
                    <a:pt x="47" y="123"/>
                  </a:cubicBezTo>
                  <a:cubicBezTo>
                    <a:pt x="48" y="119"/>
                    <a:pt x="48" y="114"/>
                    <a:pt x="49" y="110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3" y="96"/>
                    <a:pt x="41" y="87"/>
                    <a:pt x="41" y="77"/>
                  </a:cubicBezTo>
                  <a:cubicBezTo>
                    <a:pt x="41" y="50"/>
                    <a:pt x="63" y="27"/>
                    <a:pt x="90" y="27"/>
                  </a:cubicBezTo>
                  <a:cubicBezTo>
                    <a:pt x="96" y="27"/>
                    <a:pt x="103" y="29"/>
                    <a:pt x="108" y="31"/>
                  </a:cubicBezTo>
                  <a:cubicBezTo>
                    <a:pt x="116" y="34"/>
                    <a:pt x="116" y="34"/>
                    <a:pt x="116" y="34"/>
                  </a:cubicBezTo>
                  <a:cubicBezTo>
                    <a:pt x="119" y="26"/>
                    <a:pt x="119" y="26"/>
                    <a:pt x="119" y="26"/>
                  </a:cubicBezTo>
                  <a:cubicBezTo>
                    <a:pt x="125" y="10"/>
                    <a:pt x="141" y="0"/>
                    <a:pt x="158" y="0"/>
                  </a:cubicBezTo>
                  <a:cubicBezTo>
                    <a:pt x="182" y="0"/>
                    <a:pt x="201" y="19"/>
                    <a:pt x="201" y="43"/>
                  </a:cubicBezTo>
                  <a:close/>
                </a:path>
              </a:pathLst>
            </a:custGeom>
            <a:grpFill/>
            <a:ln w="26988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8" name="Freeform 25">
              <a:extLst>
                <a:ext uri="{FF2B5EF4-FFF2-40B4-BE49-F238E27FC236}">
                  <a16:creationId xmlns="" xmlns:a16="http://schemas.microsoft.com/office/drawing/2014/main" id="{14349970-D9D4-4DCF-B89C-B16F38C7C0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45363" y="1584325"/>
              <a:ext cx="1598613" cy="1150938"/>
            </a:xfrm>
            <a:custGeom>
              <a:avLst/>
              <a:gdLst>
                <a:gd name="T0" fmla="*/ 469 w 485"/>
                <a:gd name="T1" fmla="*/ 103 h 349"/>
                <a:gd name="T2" fmla="*/ 409 w 485"/>
                <a:gd name="T3" fmla="*/ 105 h 349"/>
                <a:gd name="T4" fmla="*/ 396 w 485"/>
                <a:gd name="T5" fmla="*/ 109 h 349"/>
                <a:gd name="T6" fmla="*/ 375 w 485"/>
                <a:gd name="T7" fmla="*/ 140 h 349"/>
                <a:gd name="T8" fmla="*/ 371 w 485"/>
                <a:gd name="T9" fmla="*/ 148 h 349"/>
                <a:gd name="T10" fmla="*/ 330 w 485"/>
                <a:gd name="T11" fmla="*/ 202 h 349"/>
                <a:gd name="T12" fmla="*/ 306 w 485"/>
                <a:gd name="T13" fmla="*/ 196 h 349"/>
                <a:gd name="T14" fmla="*/ 306 w 485"/>
                <a:gd name="T15" fmla="*/ 237 h 349"/>
                <a:gd name="T16" fmla="*/ 242 w 485"/>
                <a:gd name="T17" fmla="*/ 274 h 349"/>
                <a:gd name="T18" fmla="*/ 234 w 485"/>
                <a:gd name="T19" fmla="*/ 279 h 349"/>
                <a:gd name="T20" fmla="*/ 168 w 485"/>
                <a:gd name="T21" fmla="*/ 307 h 349"/>
                <a:gd name="T22" fmla="*/ 133 w 485"/>
                <a:gd name="T23" fmla="*/ 270 h 349"/>
                <a:gd name="T24" fmla="*/ 127 w 485"/>
                <a:gd name="T25" fmla="*/ 269 h 349"/>
                <a:gd name="T26" fmla="*/ 117 w 485"/>
                <a:gd name="T27" fmla="*/ 274 h 349"/>
                <a:gd name="T28" fmla="*/ 95 w 485"/>
                <a:gd name="T29" fmla="*/ 298 h 349"/>
                <a:gd name="T30" fmla="*/ 59 w 485"/>
                <a:gd name="T31" fmla="*/ 327 h 349"/>
                <a:gd name="T32" fmla="*/ 39 w 485"/>
                <a:gd name="T33" fmla="*/ 323 h 349"/>
                <a:gd name="T34" fmla="*/ 37 w 485"/>
                <a:gd name="T35" fmla="*/ 336 h 349"/>
                <a:gd name="T36" fmla="*/ 19 w 485"/>
                <a:gd name="T37" fmla="*/ 349 h 349"/>
                <a:gd name="T38" fmla="*/ 2 w 485"/>
                <a:gd name="T39" fmla="*/ 338 h 349"/>
                <a:gd name="T40" fmla="*/ 17 w 485"/>
                <a:gd name="T41" fmla="*/ 311 h 349"/>
                <a:gd name="T42" fmla="*/ 24 w 485"/>
                <a:gd name="T43" fmla="*/ 301 h 349"/>
                <a:gd name="T44" fmla="*/ 24 w 485"/>
                <a:gd name="T45" fmla="*/ 281 h 349"/>
                <a:gd name="T46" fmla="*/ 18 w 485"/>
                <a:gd name="T47" fmla="*/ 235 h 349"/>
                <a:gd name="T48" fmla="*/ 74 w 485"/>
                <a:gd name="T49" fmla="*/ 199 h 349"/>
                <a:gd name="T50" fmla="*/ 82 w 485"/>
                <a:gd name="T51" fmla="*/ 194 h 349"/>
                <a:gd name="T52" fmla="*/ 90 w 485"/>
                <a:gd name="T53" fmla="*/ 179 h 349"/>
                <a:gd name="T54" fmla="*/ 91 w 485"/>
                <a:gd name="T55" fmla="*/ 148 h 349"/>
                <a:gd name="T56" fmla="*/ 154 w 485"/>
                <a:gd name="T57" fmla="*/ 117 h 349"/>
                <a:gd name="T58" fmla="*/ 176 w 485"/>
                <a:gd name="T59" fmla="*/ 131 h 349"/>
                <a:gd name="T60" fmla="*/ 206 w 485"/>
                <a:gd name="T61" fmla="*/ 111 h 349"/>
                <a:gd name="T62" fmla="*/ 212 w 485"/>
                <a:gd name="T63" fmla="*/ 103 h 349"/>
                <a:gd name="T64" fmla="*/ 265 w 485"/>
                <a:gd name="T65" fmla="*/ 46 h 349"/>
                <a:gd name="T66" fmla="*/ 298 w 485"/>
                <a:gd name="T67" fmla="*/ 57 h 349"/>
                <a:gd name="T68" fmla="*/ 313 w 485"/>
                <a:gd name="T69" fmla="*/ 45 h 349"/>
                <a:gd name="T70" fmla="*/ 317 w 485"/>
                <a:gd name="T71" fmla="*/ 40 h 349"/>
                <a:gd name="T72" fmla="*/ 366 w 485"/>
                <a:gd name="T73" fmla="*/ 0 h 349"/>
                <a:gd name="T74" fmla="*/ 411 w 485"/>
                <a:gd name="T75" fmla="*/ 30 h 349"/>
                <a:gd name="T76" fmla="*/ 421 w 485"/>
                <a:gd name="T77" fmla="*/ 34 h 349"/>
                <a:gd name="T78" fmla="*/ 468 w 485"/>
                <a:gd name="T79" fmla="*/ 4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85" h="349">
                  <a:moveTo>
                    <a:pt x="468" y="42"/>
                  </a:moveTo>
                  <a:cubicBezTo>
                    <a:pt x="485" y="59"/>
                    <a:pt x="485" y="86"/>
                    <a:pt x="469" y="103"/>
                  </a:cubicBezTo>
                  <a:cubicBezTo>
                    <a:pt x="461" y="112"/>
                    <a:pt x="450" y="116"/>
                    <a:pt x="438" y="116"/>
                  </a:cubicBezTo>
                  <a:cubicBezTo>
                    <a:pt x="427" y="116"/>
                    <a:pt x="417" y="112"/>
                    <a:pt x="409" y="105"/>
                  </a:cubicBezTo>
                  <a:cubicBezTo>
                    <a:pt x="400" y="97"/>
                    <a:pt x="400" y="97"/>
                    <a:pt x="400" y="97"/>
                  </a:cubicBezTo>
                  <a:cubicBezTo>
                    <a:pt x="396" y="109"/>
                    <a:pt x="396" y="109"/>
                    <a:pt x="396" y="109"/>
                  </a:cubicBezTo>
                  <a:cubicBezTo>
                    <a:pt x="394" y="118"/>
                    <a:pt x="389" y="126"/>
                    <a:pt x="383" y="133"/>
                  </a:cubicBezTo>
                  <a:cubicBezTo>
                    <a:pt x="380" y="136"/>
                    <a:pt x="378" y="138"/>
                    <a:pt x="375" y="140"/>
                  </a:cubicBezTo>
                  <a:cubicBezTo>
                    <a:pt x="370" y="143"/>
                    <a:pt x="370" y="143"/>
                    <a:pt x="370" y="143"/>
                  </a:cubicBezTo>
                  <a:cubicBezTo>
                    <a:pt x="371" y="148"/>
                    <a:pt x="371" y="148"/>
                    <a:pt x="371" y="148"/>
                  </a:cubicBezTo>
                  <a:cubicBezTo>
                    <a:pt x="373" y="156"/>
                    <a:pt x="373" y="165"/>
                    <a:pt x="370" y="172"/>
                  </a:cubicBezTo>
                  <a:cubicBezTo>
                    <a:pt x="365" y="190"/>
                    <a:pt x="348" y="202"/>
                    <a:pt x="330" y="202"/>
                  </a:cubicBezTo>
                  <a:cubicBezTo>
                    <a:pt x="326" y="202"/>
                    <a:pt x="322" y="201"/>
                    <a:pt x="318" y="200"/>
                  </a:cubicBezTo>
                  <a:cubicBezTo>
                    <a:pt x="306" y="196"/>
                    <a:pt x="306" y="196"/>
                    <a:pt x="306" y="196"/>
                  </a:cubicBezTo>
                  <a:cubicBezTo>
                    <a:pt x="308" y="209"/>
                    <a:pt x="308" y="209"/>
                    <a:pt x="308" y="209"/>
                  </a:cubicBezTo>
                  <a:cubicBezTo>
                    <a:pt x="309" y="218"/>
                    <a:pt x="309" y="228"/>
                    <a:pt x="306" y="237"/>
                  </a:cubicBezTo>
                  <a:cubicBezTo>
                    <a:pt x="298" y="260"/>
                    <a:pt x="276" y="275"/>
                    <a:pt x="252" y="275"/>
                  </a:cubicBezTo>
                  <a:cubicBezTo>
                    <a:pt x="249" y="275"/>
                    <a:pt x="246" y="275"/>
                    <a:pt x="242" y="274"/>
                  </a:cubicBezTo>
                  <a:cubicBezTo>
                    <a:pt x="236" y="273"/>
                    <a:pt x="236" y="273"/>
                    <a:pt x="236" y="273"/>
                  </a:cubicBezTo>
                  <a:cubicBezTo>
                    <a:pt x="234" y="279"/>
                    <a:pt x="234" y="279"/>
                    <a:pt x="234" y="279"/>
                  </a:cubicBezTo>
                  <a:cubicBezTo>
                    <a:pt x="225" y="298"/>
                    <a:pt x="206" y="310"/>
                    <a:pt x="185" y="310"/>
                  </a:cubicBezTo>
                  <a:cubicBezTo>
                    <a:pt x="179" y="310"/>
                    <a:pt x="174" y="309"/>
                    <a:pt x="168" y="307"/>
                  </a:cubicBezTo>
                  <a:cubicBezTo>
                    <a:pt x="153" y="302"/>
                    <a:pt x="141" y="290"/>
                    <a:pt x="135" y="275"/>
                  </a:cubicBezTo>
                  <a:cubicBezTo>
                    <a:pt x="133" y="270"/>
                    <a:pt x="133" y="270"/>
                    <a:pt x="133" y="270"/>
                  </a:cubicBezTo>
                  <a:cubicBezTo>
                    <a:pt x="129" y="269"/>
                    <a:pt x="129" y="269"/>
                    <a:pt x="129" y="269"/>
                  </a:cubicBezTo>
                  <a:cubicBezTo>
                    <a:pt x="128" y="269"/>
                    <a:pt x="127" y="269"/>
                    <a:pt x="127" y="269"/>
                  </a:cubicBezTo>
                  <a:cubicBezTo>
                    <a:pt x="120" y="268"/>
                    <a:pt x="120" y="268"/>
                    <a:pt x="120" y="268"/>
                  </a:cubicBezTo>
                  <a:cubicBezTo>
                    <a:pt x="117" y="274"/>
                    <a:pt x="117" y="274"/>
                    <a:pt x="117" y="274"/>
                  </a:cubicBezTo>
                  <a:cubicBezTo>
                    <a:pt x="113" y="283"/>
                    <a:pt x="106" y="291"/>
                    <a:pt x="97" y="296"/>
                  </a:cubicBezTo>
                  <a:cubicBezTo>
                    <a:pt x="95" y="298"/>
                    <a:pt x="95" y="298"/>
                    <a:pt x="95" y="298"/>
                  </a:cubicBezTo>
                  <a:cubicBezTo>
                    <a:pt x="93" y="302"/>
                    <a:pt x="93" y="302"/>
                    <a:pt x="93" y="302"/>
                  </a:cubicBezTo>
                  <a:cubicBezTo>
                    <a:pt x="88" y="317"/>
                    <a:pt x="75" y="327"/>
                    <a:pt x="59" y="327"/>
                  </a:cubicBezTo>
                  <a:cubicBezTo>
                    <a:pt x="55" y="327"/>
                    <a:pt x="52" y="326"/>
                    <a:pt x="48" y="325"/>
                  </a:cubicBezTo>
                  <a:cubicBezTo>
                    <a:pt x="39" y="323"/>
                    <a:pt x="39" y="323"/>
                    <a:pt x="39" y="323"/>
                  </a:cubicBezTo>
                  <a:cubicBezTo>
                    <a:pt x="38" y="332"/>
                    <a:pt x="38" y="332"/>
                    <a:pt x="38" y="332"/>
                  </a:cubicBezTo>
                  <a:cubicBezTo>
                    <a:pt x="38" y="333"/>
                    <a:pt x="38" y="335"/>
                    <a:pt x="37" y="336"/>
                  </a:cubicBezTo>
                  <a:cubicBezTo>
                    <a:pt x="36" y="340"/>
                    <a:pt x="33" y="343"/>
                    <a:pt x="30" y="345"/>
                  </a:cubicBezTo>
                  <a:cubicBezTo>
                    <a:pt x="27" y="347"/>
                    <a:pt x="23" y="349"/>
                    <a:pt x="19" y="349"/>
                  </a:cubicBezTo>
                  <a:cubicBezTo>
                    <a:pt x="17" y="349"/>
                    <a:pt x="15" y="348"/>
                    <a:pt x="13" y="348"/>
                  </a:cubicBezTo>
                  <a:cubicBezTo>
                    <a:pt x="9" y="346"/>
                    <a:pt x="5" y="343"/>
                    <a:pt x="2" y="338"/>
                  </a:cubicBezTo>
                  <a:cubicBezTo>
                    <a:pt x="0" y="334"/>
                    <a:pt x="0" y="328"/>
                    <a:pt x="1" y="324"/>
                  </a:cubicBezTo>
                  <a:cubicBezTo>
                    <a:pt x="4" y="317"/>
                    <a:pt x="10" y="312"/>
                    <a:pt x="17" y="311"/>
                  </a:cubicBezTo>
                  <a:cubicBezTo>
                    <a:pt x="27" y="310"/>
                    <a:pt x="27" y="310"/>
                    <a:pt x="27" y="310"/>
                  </a:cubicBezTo>
                  <a:cubicBezTo>
                    <a:pt x="24" y="301"/>
                    <a:pt x="24" y="301"/>
                    <a:pt x="24" y="301"/>
                  </a:cubicBezTo>
                  <a:cubicBezTo>
                    <a:pt x="22" y="295"/>
                    <a:pt x="22" y="289"/>
                    <a:pt x="23" y="284"/>
                  </a:cubicBezTo>
                  <a:cubicBezTo>
                    <a:pt x="24" y="281"/>
                    <a:pt x="24" y="281"/>
                    <a:pt x="24" y="281"/>
                  </a:cubicBezTo>
                  <a:cubicBezTo>
                    <a:pt x="22" y="278"/>
                    <a:pt x="22" y="278"/>
                    <a:pt x="22" y="278"/>
                  </a:cubicBezTo>
                  <a:cubicBezTo>
                    <a:pt x="15" y="265"/>
                    <a:pt x="13" y="249"/>
                    <a:pt x="18" y="235"/>
                  </a:cubicBezTo>
                  <a:cubicBezTo>
                    <a:pt x="25" y="213"/>
                    <a:pt x="46" y="198"/>
                    <a:pt x="68" y="198"/>
                  </a:cubicBezTo>
                  <a:cubicBezTo>
                    <a:pt x="70" y="198"/>
                    <a:pt x="72" y="199"/>
                    <a:pt x="74" y="199"/>
                  </a:cubicBezTo>
                  <a:cubicBezTo>
                    <a:pt x="80" y="199"/>
                    <a:pt x="80" y="199"/>
                    <a:pt x="80" y="199"/>
                  </a:cubicBezTo>
                  <a:cubicBezTo>
                    <a:pt x="82" y="194"/>
                    <a:pt x="82" y="194"/>
                    <a:pt x="82" y="194"/>
                  </a:cubicBezTo>
                  <a:cubicBezTo>
                    <a:pt x="84" y="190"/>
                    <a:pt x="86" y="186"/>
                    <a:pt x="88" y="182"/>
                  </a:cubicBezTo>
                  <a:cubicBezTo>
                    <a:pt x="90" y="179"/>
                    <a:pt x="90" y="179"/>
                    <a:pt x="90" y="179"/>
                  </a:cubicBezTo>
                  <a:cubicBezTo>
                    <a:pt x="89" y="176"/>
                    <a:pt x="89" y="176"/>
                    <a:pt x="89" y="176"/>
                  </a:cubicBezTo>
                  <a:cubicBezTo>
                    <a:pt x="87" y="166"/>
                    <a:pt x="88" y="157"/>
                    <a:pt x="91" y="148"/>
                  </a:cubicBezTo>
                  <a:cubicBezTo>
                    <a:pt x="97" y="128"/>
                    <a:pt x="116" y="114"/>
                    <a:pt x="138" y="114"/>
                  </a:cubicBezTo>
                  <a:cubicBezTo>
                    <a:pt x="143" y="114"/>
                    <a:pt x="149" y="115"/>
                    <a:pt x="154" y="117"/>
                  </a:cubicBezTo>
                  <a:cubicBezTo>
                    <a:pt x="160" y="119"/>
                    <a:pt x="165" y="122"/>
                    <a:pt x="170" y="126"/>
                  </a:cubicBezTo>
                  <a:cubicBezTo>
                    <a:pt x="176" y="131"/>
                    <a:pt x="176" y="131"/>
                    <a:pt x="176" y="131"/>
                  </a:cubicBezTo>
                  <a:cubicBezTo>
                    <a:pt x="181" y="125"/>
                    <a:pt x="181" y="125"/>
                    <a:pt x="181" y="125"/>
                  </a:cubicBezTo>
                  <a:cubicBezTo>
                    <a:pt x="187" y="118"/>
                    <a:pt x="196" y="113"/>
                    <a:pt x="206" y="111"/>
                  </a:cubicBezTo>
                  <a:cubicBezTo>
                    <a:pt x="213" y="110"/>
                    <a:pt x="213" y="110"/>
                    <a:pt x="213" y="110"/>
                  </a:cubicBezTo>
                  <a:cubicBezTo>
                    <a:pt x="212" y="103"/>
                    <a:pt x="212" y="103"/>
                    <a:pt x="212" y="103"/>
                  </a:cubicBezTo>
                  <a:cubicBezTo>
                    <a:pt x="211" y="88"/>
                    <a:pt x="217" y="73"/>
                    <a:pt x="227" y="62"/>
                  </a:cubicBezTo>
                  <a:cubicBezTo>
                    <a:pt x="237" y="52"/>
                    <a:pt x="251" y="46"/>
                    <a:pt x="265" y="46"/>
                  </a:cubicBezTo>
                  <a:cubicBezTo>
                    <a:pt x="275" y="46"/>
                    <a:pt x="285" y="49"/>
                    <a:pt x="293" y="54"/>
                  </a:cubicBezTo>
                  <a:cubicBezTo>
                    <a:pt x="298" y="57"/>
                    <a:pt x="298" y="57"/>
                    <a:pt x="298" y="57"/>
                  </a:cubicBezTo>
                  <a:cubicBezTo>
                    <a:pt x="303" y="53"/>
                    <a:pt x="303" y="53"/>
                    <a:pt x="303" y="53"/>
                  </a:cubicBezTo>
                  <a:cubicBezTo>
                    <a:pt x="306" y="50"/>
                    <a:pt x="309" y="47"/>
                    <a:pt x="313" y="45"/>
                  </a:cubicBezTo>
                  <a:cubicBezTo>
                    <a:pt x="316" y="43"/>
                    <a:pt x="316" y="43"/>
                    <a:pt x="316" y="43"/>
                  </a:cubicBezTo>
                  <a:cubicBezTo>
                    <a:pt x="317" y="40"/>
                    <a:pt x="317" y="40"/>
                    <a:pt x="317" y="40"/>
                  </a:cubicBezTo>
                  <a:cubicBezTo>
                    <a:pt x="319" y="31"/>
                    <a:pt x="323" y="22"/>
                    <a:pt x="330" y="15"/>
                  </a:cubicBezTo>
                  <a:cubicBezTo>
                    <a:pt x="339" y="6"/>
                    <a:pt x="352" y="0"/>
                    <a:pt x="366" y="0"/>
                  </a:cubicBezTo>
                  <a:cubicBezTo>
                    <a:pt x="379" y="0"/>
                    <a:pt x="391" y="5"/>
                    <a:pt x="400" y="14"/>
                  </a:cubicBezTo>
                  <a:cubicBezTo>
                    <a:pt x="405" y="19"/>
                    <a:pt x="408" y="24"/>
                    <a:pt x="411" y="30"/>
                  </a:cubicBezTo>
                  <a:cubicBezTo>
                    <a:pt x="414" y="37"/>
                    <a:pt x="414" y="37"/>
                    <a:pt x="414" y="37"/>
                  </a:cubicBezTo>
                  <a:cubicBezTo>
                    <a:pt x="421" y="34"/>
                    <a:pt x="421" y="34"/>
                    <a:pt x="421" y="34"/>
                  </a:cubicBezTo>
                  <a:cubicBezTo>
                    <a:pt x="427" y="31"/>
                    <a:pt x="432" y="30"/>
                    <a:pt x="438" y="30"/>
                  </a:cubicBezTo>
                  <a:cubicBezTo>
                    <a:pt x="449" y="30"/>
                    <a:pt x="460" y="35"/>
                    <a:pt x="468" y="42"/>
                  </a:cubicBezTo>
                  <a:close/>
                </a:path>
              </a:pathLst>
            </a:custGeom>
            <a:grpFill/>
            <a:ln w="26988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9" name="Rectangle 26">
              <a:extLst>
                <a:ext uri="{FF2B5EF4-FFF2-40B4-BE49-F238E27FC236}">
                  <a16:creationId xmlns="" xmlns:a16="http://schemas.microsoft.com/office/drawing/2014/main" id="{18B3AF1B-B436-4804-896F-B47F18ED672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92301" y="4478338"/>
              <a:ext cx="101600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30" name="Freeform 27">
              <a:extLst>
                <a:ext uri="{FF2B5EF4-FFF2-40B4-BE49-F238E27FC236}">
                  <a16:creationId xmlns="" xmlns:a16="http://schemas.microsoft.com/office/drawing/2014/main" id="{54846F54-2664-41F1-89B3-D6A85FED0D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4538" y="2444750"/>
              <a:ext cx="10702925" cy="2822575"/>
            </a:xfrm>
            <a:custGeom>
              <a:avLst/>
              <a:gdLst>
                <a:gd name="T0" fmla="*/ 87 w 3246"/>
                <a:gd name="T1" fmla="*/ 244 h 856"/>
                <a:gd name="T2" fmla="*/ 192 w 3246"/>
                <a:gd name="T3" fmla="*/ 236 h 856"/>
                <a:gd name="T4" fmla="*/ 302 w 3246"/>
                <a:gd name="T5" fmla="*/ 527 h 856"/>
                <a:gd name="T6" fmla="*/ 859 w 3246"/>
                <a:gd name="T7" fmla="*/ 473 h 856"/>
                <a:gd name="T8" fmla="*/ 1099 w 3246"/>
                <a:gd name="T9" fmla="*/ 441 h 856"/>
                <a:gd name="T10" fmla="*/ 1116 w 3246"/>
                <a:gd name="T11" fmla="*/ 216 h 856"/>
                <a:gd name="T12" fmla="*/ 1164 w 3246"/>
                <a:gd name="T13" fmla="*/ 441 h 856"/>
                <a:gd name="T14" fmla="*/ 1312 w 3246"/>
                <a:gd name="T15" fmla="*/ 441 h 856"/>
                <a:gd name="T16" fmla="*/ 1358 w 3246"/>
                <a:gd name="T17" fmla="*/ 105 h 856"/>
                <a:gd name="T18" fmla="*/ 1378 w 3246"/>
                <a:gd name="T19" fmla="*/ 441 h 856"/>
                <a:gd name="T20" fmla="*/ 1526 w 3246"/>
                <a:gd name="T21" fmla="*/ 14 h 856"/>
                <a:gd name="T22" fmla="*/ 1568 w 3246"/>
                <a:gd name="T23" fmla="*/ 10 h 856"/>
                <a:gd name="T24" fmla="*/ 1596 w 3246"/>
                <a:gd name="T25" fmla="*/ 573 h 856"/>
                <a:gd name="T26" fmla="*/ 1828 w 3246"/>
                <a:gd name="T27" fmla="*/ 684 h 856"/>
                <a:gd name="T28" fmla="*/ 1877 w 3246"/>
                <a:gd name="T29" fmla="*/ 495 h 856"/>
                <a:gd name="T30" fmla="*/ 1876 w 3246"/>
                <a:gd name="T31" fmla="*/ 300 h 856"/>
                <a:gd name="T32" fmla="*/ 1974 w 3246"/>
                <a:gd name="T33" fmla="*/ 207 h 856"/>
                <a:gd name="T34" fmla="*/ 2071 w 3246"/>
                <a:gd name="T35" fmla="*/ 484 h 856"/>
                <a:gd name="T36" fmla="*/ 2035 w 3246"/>
                <a:gd name="T37" fmla="*/ 554 h 856"/>
                <a:gd name="T38" fmla="*/ 2220 w 3246"/>
                <a:gd name="T39" fmla="*/ 624 h 856"/>
                <a:gd name="T40" fmla="*/ 2300 w 3246"/>
                <a:gd name="T41" fmla="*/ 490 h 856"/>
                <a:gd name="T42" fmla="*/ 2432 w 3246"/>
                <a:gd name="T43" fmla="*/ 450 h 856"/>
                <a:gd name="T44" fmla="*/ 2631 w 3246"/>
                <a:gd name="T45" fmla="*/ 729 h 856"/>
                <a:gd name="T46" fmla="*/ 2872 w 3246"/>
                <a:gd name="T47" fmla="*/ 443 h 856"/>
                <a:gd name="T48" fmla="*/ 2875 w 3246"/>
                <a:gd name="T49" fmla="*/ 395 h 856"/>
                <a:gd name="T50" fmla="*/ 3036 w 3246"/>
                <a:gd name="T51" fmla="*/ 350 h 856"/>
                <a:gd name="T52" fmla="*/ 3027 w 3246"/>
                <a:gd name="T53" fmla="*/ 410 h 856"/>
                <a:gd name="T54" fmla="*/ 3236 w 3246"/>
                <a:gd name="T55" fmla="*/ 837 h 856"/>
                <a:gd name="T56" fmla="*/ 3237 w 3246"/>
                <a:gd name="T57" fmla="*/ 829 h 856"/>
                <a:gd name="T58" fmla="*/ 3036 w 3246"/>
                <a:gd name="T59" fmla="*/ 432 h 856"/>
                <a:gd name="T60" fmla="*/ 3035 w 3246"/>
                <a:gd name="T61" fmla="*/ 410 h 856"/>
                <a:gd name="T62" fmla="*/ 3035 w 3246"/>
                <a:gd name="T63" fmla="*/ 378 h 856"/>
                <a:gd name="T64" fmla="*/ 2857 w 3246"/>
                <a:gd name="T65" fmla="*/ 358 h 856"/>
                <a:gd name="T66" fmla="*/ 2867 w 3246"/>
                <a:gd name="T67" fmla="*/ 390 h 856"/>
                <a:gd name="T68" fmla="*/ 2862 w 3246"/>
                <a:gd name="T69" fmla="*/ 425 h 856"/>
                <a:gd name="T70" fmla="*/ 2741 w 3246"/>
                <a:gd name="T71" fmla="*/ 829 h 856"/>
                <a:gd name="T72" fmla="*/ 2480 w 3246"/>
                <a:gd name="T73" fmla="*/ 616 h 856"/>
                <a:gd name="T74" fmla="*/ 2385 w 3246"/>
                <a:gd name="T75" fmla="*/ 490 h 856"/>
                <a:gd name="T76" fmla="*/ 2259 w 3246"/>
                <a:gd name="T77" fmla="*/ 442 h 856"/>
                <a:gd name="T78" fmla="*/ 2158 w 3246"/>
                <a:gd name="T79" fmla="*/ 676 h 856"/>
                <a:gd name="T80" fmla="*/ 2044 w 3246"/>
                <a:gd name="T81" fmla="*/ 549 h 856"/>
                <a:gd name="T82" fmla="*/ 2069 w 3246"/>
                <a:gd name="T83" fmla="*/ 458 h 856"/>
                <a:gd name="T84" fmla="*/ 2069 w 3246"/>
                <a:gd name="T85" fmla="*/ 300 h 856"/>
                <a:gd name="T86" fmla="*/ 1957 w 3246"/>
                <a:gd name="T87" fmla="*/ 200 h 856"/>
                <a:gd name="T88" fmla="*/ 1866 w 3246"/>
                <a:gd name="T89" fmla="*/ 372 h 856"/>
                <a:gd name="T90" fmla="*/ 1868 w 3246"/>
                <a:gd name="T91" fmla="*/ 492 h 856"/>
                <a:gd name="T92" fmla="*/ 1827 w 3246"/>
                <a:gd name="T93" fmla="*/ 675 h 856"/>
                <a:gd name="T94" fmla="*/ 1694 w 3246"/>
                <a:gd name="T95" fmla="*/ 565 h 856"/>
                <a:gd name="T96" fmla="*/ 1570 w 3246"/>
                <a:gd name="T97" fmla="*/ 18 h 856"/>
                <a:gd name="T98" fmla="*/ 1515 w 3246"/>
                <a:gd name="T99" fmla="*/ 19 h 856"/>
                <a:gd name="T100" fmla="*/ 1396 w 3246"/>
                <a:gd name="T101" fmla="*/ 565 h 856"/>
                <a:gd name="T102" fmla="*/ 1368 w 3246"/>
                <a:gd name="T103" fmla="*/ 107 h 856"/>
                <a:gd name="T104" fmla="*/ 1311 w 3246"/>
                <a:gd name="T105" fmla="*/ 117 h 856"/>
                <a:gd name="T106" fmla="*/ 1187 w 3246"/>
                <a:gd name="T107" fmla="*/ 433 h 856"/>
                <a:gd name="T108" fmla="*/ 1165 w 3246"/>
                <a:gd name="T109" fmla="*/ 208 h 856"/>
                <a:gd name="T110" fmla="*/ 1111 w 3246"/>
                <a:gd name="T111" fmla="*/ 433 h 856"/>
                <a:gd name="T112" fmla="*/ 867 w 3246"/>
                <a:gd name="T113" fmla="*/ 684 h 856"/>
                <a:gd name="T114" fmla="*/ 486 w 3246"/>
                <a:gd name="T115" fmla="*/ 463 h 856"/>
                <a:gd name="T116" fmla="*/ 200 w 3246"/>
                <a:gd name="T117" fmla="*/ 236 h 856"/>
                <a:gd name="T118" fmla="*/ 62 w 3246"/>
                <a:gd name="T119" fmla="*/ 723 h 856"/>
                <a:gd name="T120" fmla="*/ 0 w 3246"/>
                <a:gd name="T121" fmla="*/ 771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46" h="856">
                  <a:moveTo>
                    <a:pt x="8" y="776"/>
                  </a:moveTo>
                  <a:cubicBezTo>
                    <a:pt x="9" y="725"/>
                    <a:pt x="9" y="725"/>
                    <a:pt x="9" y="725"/>
                  </a:cubicBezTo>
                  <a:cubicBezTo>
                    <a:pt x="16" y="726"/>
                    <a:pt x="33" y="728"/>
                    <a:pt x="65" y="731"/>
                  </a:cubicBezTo>
                  <a:cubicBezTo>
                    <a:pt x="69" y="732"/>
                    <a:pt x="69" y="732"/>
                    <a:pt x="69" y="732"/>
                  </a:cubicBezTo>
                  <a:cubicBezTo>
                    <a:pt x="87" y="244"/>
                    <a:pt x="87" y="244"/>
                    <a:pt x="87" y="244"/>
                  </a:cubicBezTo>
                  <a:cubicBezTo>
                    <a:pt x="80" y="244"/>
                    <a:pt x="80" y="244"/>
                    <a:pt x="80" y="244"/>
                  </a:cubicBezTo>
                  <a:cubicBezTo>
                    <a:pt x="76" y="244"/>
                    <a:pt x="73" y="240"/>
                    <a:pt x="73" y="236"/>
                  </a:cubicBezTo>
                  <a:cubicBezTo>
                    <a:pt x="73" y="232"/>
                    <a:pt x="76" y="229"/>
                    <a:pt x="80" y="229"/>
                  </a:cubicBezTo>
                  <a:cubicBezTo>
                    <a:pt x="184" y="229"/>
                    <a:pt x="184" y="229"/>
                    <a:pt x="184" y="229"/>
                  </a:cubicBezTo>
                  <a:cubicBezTo>
                    <a:pt x="188" y="229"/>
                    <a:pt x="192" y="232"/>
                    <a:pt x="192" y="236"/>
                  </a:cubicBezTo>
                  <a:cubicBezTo>
                    <a:pt x="192" y="240"/>
                    <a:pt x="188" y="244"/>
                    <a:pt x="184" y="244"/>
                  </a:cubicBezTo>
                  <a:cubicBezTo>
                    <a:pt x="176" y="244"/>
                    <a:pt x="176" y="244"/>
                    <a:pt x="176" y="244"/>
                  </a:cubicBezTo>
                  <a:cubicBezTo>
                    <a:pt x="191" y="692"/>
                    <a:pt x="191" y="692"/>
                    <a:pt x="191" y="692"/>
                  </a:cubicBezTo>
                  <a:cubicBezTo>
                    <a:pt x="302" y="692"/>
                    <a:pt x="302" y="692"/>
                    <a:pt x="302" y="692"/>
                  </a:cubicBezTo>
                  <a:cubicBezTo>
                    <a:pt x="302" y="527"/>
                    <a:pt x="302" y="527"/>
                    <a:pt x="302" y="527"/>
                  </a:cubicBezTo>
                  <a:cubicBezTo>
                    <a:pt x="478" y="473"/>
                    <a:pt x="478" y="473"/>
                    <a:pt x="478" y="473"/>
                  </a:cubicBezTo>
                  <a:cubicBezTo>
                    <a:pt x="478" y="531"/>
                    <a:pt x="478" y="531"/>
                    <a:pt x="478" y="531"/>
                  </a:cubicBezTo>
                  <a:cubicBezTo>
                    <a:pt x="669" y="473"/>
                    <a:pt x="669" y="473"/>
                    <a:pt x="669" y="473"/>
                  </a:cubicBezTo>
                  <a:cubicBezTo>
                    <a:pt x="669" y="531"/>
                    <a:pt x="669" y="531"/>
                    <a:pt x="669" y="531"/>
                  </a:cubicBezTo>
                  <a:cubicBezTo>
                    <a:pt x="859" y="473"/>
                    <a:pt x="859" y="473"/>
                    <a:pt x="859" y="473"/>
                  </a:cubicBezTo>
                  <a:cubicBezTo>
                    <a:pt x="859" y="692"/>
                    <a:pt x="859" y="692"/>
                    <a:pt x="859" y="692"/>
                  </a:cubicBezTo>
                  <a:cubicBezTo>
                    <a:pt x="981" y="698"/>
                    <a:pt x="981" y="698"/>
                    <a:pt x="981" y="698"/>
                  </a:cubicBezTo>
                  <a:cubicBezTo>
                    <a:pt x="981" y="573"/>
                    <a:pt x="981" y="573"/>
                    <a:pt x="981" y="573"/>
                  </a:cubicBezTo>
                  <a:cubicBezTo>
                    <a:pt x="1085" y="573"/>
                    <a:pt x="1085" y="573"/>
                    <a:pt x="1085" y="573"/>
                  </a:cubicBezTo>
                  <a:cubicBezTo>
                    <a:pt x="1099" y="441"/>
                    <a:pt x="1099" y="441"/>
                    <a:pt x="1099" y="441"/>
                  </a:cubicBezTo>
                  <a:cubicBezTo>
                    <a:pt x="1118" y="441"/>
                    <a:pt x="1118" y="441"/>
                    <a:pt x="1118" y="441"/>
                  </a:cubicBezTo>
                  <a:cubicBezTo>
                    <a:pt x="1125" y="222"/>
                    <a:pt x="1125" y="222"/>
                    <a:pt x="1125" y="222"/>
                  </a:cubicBezTo>
                  <a:cubicBezTo>
                    <a:pt x="1116" y="220"/>
                    <a:pt x="1116" y="220"/>
                    <a:pt x="1116" y="220"/>
                  </a:cubicBezTo>
                  <a:cubicBezTo>
                    <a:pt x="1115" y="219"/>
                    <a:pt x="1115" y="219"/>
                    <a:pt x="1115" y="218"/>
                  </a:cubicBezTo>
                  <a:cubicBezTo>
                    <a:pt x="1115" y="217"/>
                    <a:pt x="1115" y="216"/>
                    <a:pt x="1116" y="216"/>
                  </a:cubicBezTo>
                  <a:cubicBezTo>
                    <a:pt x="1165" y="216"/>
                    <a:pt x="1165" y="216"/>
                    <a:pt x="1165" y="216"/>
                  </a:cubicBezTo>
                  <a:cubicBezTo>
                    <a:pt x="1166" y="216"/>
                    <a:pt x="1167" y="217"/>
                    <a:pt x="1167" y="218"/>
                  </a:cubicBezTo>
                  <a:cubicBezTo>
                    <a:pt x="1167" y="219"/>
                    <a:pt x="1166" y="219"/>
                    <a:pt x="1166" y="220"/>
                  </a:cubicBezTo>
                  <a:cubicBezTo>
                    <a:pt x="1159" y="223"/>
                    <a:pt x="1159" y="223"/>
                    <a:pt x="1159" y="223"/>
                  </a:cubicBezTo>
                  <a:cubicBezTo>
                    <a:pt x="1164" y="441"/>
                    <a:pt x="1164" y="441"/>
                    <a:pt x="1164" y="441"/>
                  </a:cubicBezTo>
                  <a:cubicBezTo>
                    <a:pt x="1179" y="441"/>
                    <a:pt x="1179" y="441"/>
                    <a:pt x="1179" y="441"/>
                  </a:cubicBezTo>
                  <a:cubicBezTo>
                    <a:pt x="1190" y="573"/>
                    <a:pt x="1190" y="573"/>
                    <a:pt x="1190" y="573"/>
                  </a:cubicBezTo>
                  <a:cubicBezTo>
                    <a:pt x="1284" y="573"/>
                    <a:pt x="1284" y="573"/>
                    <a:pt x="1284" y="573"/>
                  </a:cubicBezTo>
                  <a:cubicBezTo>
                    <a:pt x="1298" y="441"/>
                    <a:pt x="1298" y="441"/>
                    <a:pt x="1298" y="441"/>
                  </a:cubicBezTo>
                  <a:cubicBezTo>
                    <a:pt x="1312" y="441"/>
                    <a:pt x="1312" y="441"/>
                    <a:pt x="1312" y="441"/>
                  </a:cubicBezTo>
                  <a:cubicBezTo>
                    <a:pt x="1319" y="110"/>
                    <a:pt x="1319" y="110"/>
                    <a:pt x="1319" y="110"/>
                  </a:cubicBezTo>
                  <a:cubicBezTo>
                    <a:pt x="1309" y="108"/>
                    <a:pt x="1309" y="108"/>
                    <a:pt x="1309" y="108"/>
                  </a:cubicBezTo>
                  <a:cubicBezTo>
                    <a:pt x="1308" y="108"/>
                    <a:pt x="1308" y="107"/>
                    <a:pt x="1308" y="107"/>
                  </a:cubicBezTo>
                  <a:cubicBezTo>
                    <a:pt x="1308" y="106"/>
                    <a:pt x="1308" y="105"/>
                    <a:pt x="1309" y="105"/>
                  </a:cubicBezTo>
                  <a:cubicBezTo>
                    <a:pt x="1358" y="105"/>
                    <a:pt x="1358" y="105"/>
                    <a:pt x="1358" y="105"/>
                  </a:cubicBezTo>
                  <a:cubicBezTo>
                    <a:pt x="1359" y="105"/>
                    <a:pt x="1360" y="106"/>
                    <a:pt x="1360" y="107"/>
                  </a:cubicBezTo>
                  <a:cubicBezTo>
                    <a:pt x="1360" y="107"/>
                    <a:pt x="1359" y="108"/>
                    <a:pt x="1359" y="108"/>
                  </a:cubicBezTo>
                  <a:cubicBezTo>
                    <a:pt x="1353" y="112"/>
                    <a:pt x="1353" y="112"/>
                    <a:pt x="1353" y="112"/>
                  </a:cubicBezTo>
                  <a:cubicBezTo>
                    <a:pt x="1359" y="441"/>
                    <a:pt x="1359" y="441"/>
                    <a:pt x="1359" y="441"/>
                  </a:cubicBezTo>
                  <a:cubicBezTo>
                    <a:pt x="1378" y="441"/>
                    <a:pt x="1378" y="441"/>
                    <a:pt x="1378" y="441"/>
                  </a:cubicBezTo>
                  <a:cubicBezTo>
                    <a:pt x="1389" y="573"/>
                    <a:pt x="1389" y="573"/>
                    <a:pt x="1389" y="573"/>
                  </a:cubicBezTo>
                  <a:cubicBezTo>
                    <a:pt x="1491" y="573"/>
                    <a:pt x="1491" y="573"/>
                    <a:pt x="1491" y="573"/>
                  </a:cubicBezTo>
                  <a:cubicBezTo>
                    <a:pt x="1504" y="441"/>
                    <a:pt x="1504" y="441"/>
                    <a:pt x="1504" y="441"/>
                  </a:cubicBezTo>
                  <a:cubicBezTo>
                    <a:pt x="1518" y="441"/>
                    <a:pt x="1518" y="441"/>
                    <a:pt x="1518" y="441"/>
                  </a:cubicBezTo>
                  <a:cubicBezTo>
                    <a:pt x="1526" y="14"/>
                    <a:pt x="1526" y="14"/>
                    <a:pt x="1526" y="14"/>
                  </a:cubicBezTo>
                  <a:cubicBezTo>
                    <a:pt x="1517" y="11"/>
                    <a:pt x="1517" y="11"/>
                    <a:pt x="1517" y="11"/>
                  </a:cubicBezTo>
                  <a:cubicBezTo>
                    <a:pt x="1517" y="11"/>
                    <a:pt x="1516" y="10"/>
                    <a:pt x="1516" y="10"/>
                  </a:cubicBezTo>
                  <a:cubicBezTo>
                    <a:pt x="1516" y="9"/>
                    <a:pt x="1517" y="8"/>
                    <a:pt x="1518" y="8"/>
                  </a:cubicBezTo>
                  <a:cubicBezTo>
                    <a:pt x="1566" y="8"/>
                    <a:pt x="1566" y="8"/>
                    <a:pt x="1566" y="8"/>
                  </a:cubicBezTo>
                  <a:cubicBezTo>
                    <a:pt x="1567" y="8"/>
                    <a:pt x="1568" y="9"/>
                    <a:pt x="1568" y="10"/>
                  </a:cubicBezTo>
                  <a:cubicBezTo>
                    <a:pt x="1568" y="10"/>
                    <a:pt x="1568" y="11"/>
                    <a:pt x="1567" y="11"/>
                  </a:cubicBezTo>
                  <a:cubicBezTo>
                    <a:pt x="1560" y="14"/>
                    <a:pt x="1560" y="14"/>
                    <a:pt x="1560" y="14"/>
                  </a:cubicBezTo>
                  <a:cubicBezTo>
                    <a:pt x="1566" y="441"/>
                    <a:pt x="1566" y="441"/>
                    <a:pt x="1566" y="441"/>
                  </a:cubicBezTo>
                  <a:cubicBezTo>
                    <a:pt x="1585" y="441"/>
                    <a:pt x="1585" y="441"/>
                    <a:pt x="1585" y="441"/>
                  </a:cubicBezTo>
                  <a:cubicBezTo>
                    <a:pt x="1596" y="573"/>
                    <a:pt x="1596" y="573"/>
                    <a:pt x="1596" y="573"/>
                  </a:cubicBezTo>
                  <a:cubicBezTo>
                    <a:pt x="1686" y="573"/>
                    <a:pt x="1686" y="573"/>
                    <a:pt x="1686" y="573"/>
                  </a:cubicBezTo>
                  <a:cubicBezTo>
                    <a:pt x="1686" y="697"/>
                    <a:pt x="1686" y="697"/>
                    <a:pt x="1686" y="697"/>
                  </a:cubicBezTo>
                  <a:cubicBezTo>
                    <a:pt x="1791" y="697"/>
                    <a:pt x="1791" y="697"/>
                    <a:pt x="1791" y="697"/>
                  </a:cubicBezTo>
                  <a:cubicBezTo>
                    <a:pt x="1791" y="684"/>
                    <a:pt x="1791" y="684"/>
                    <a:pt x="1791" y="684"/>
                  </a:cubicBezTo>
                  <a:cubicBezTo>
                    <a:pt x="1828" y="684"/>
                    <a:pt x="1828" y="684"/>
                    <a:pt x="1828" y="684"/>
                  </a:cubicBezTo>
                  <a:cubicBezTo>
                    <a:pt x="1831" y="682"/>
                    <a:pt x="1831" y="682"/>
                    <a:pt x="1831" y="682"/>
                  </a:cubicBezTo>
                  <a:cubicBezTo>
                    <a:pt x="1867" y="663"/>
                    <a:pt x="1894" y="621"/>
                    <a:pt x="1906" y="559"/>
                  </a:cubicBezTo>
                  <a:cubicBezTo>
                    <a:pt x="1907" y="553"/>
                    <a:pt x="1907" y="553"/>
                    <a:pt x="1907" y="553"/>
                  </a:cubicBezTo>
                  <a:cubicBezTo>
                    <a:pt x="1903" y="549"/>
                    <a:pt x="1903" y="549"/>
                    <a:pt x="1903" y="549"/>
                  </a:cubicBezTo>
                  <a:cubicBezTo>
                    <a:pt x="1888" y="534"/>
                    <a:pt x="1879" y="515"/>
                    <a:pt x="1877" y="495"/>
                  </a:cubicBezTo>
                  <a:cubicBezTo>
                    <a:pt x="1875" y="484"/>
                    <a:pt x="1875" y="484"/>
                    <a:pt x="1875" y="484"/>
                  </a:cubicBezTo>
                  <a:cubicBezTo>
                    <a:pt x="1868" y="484"/>
                    <a:pt x="1868" y="484"/>
                    <a:pt x="1868" y="484"/>
                  </a:cubicBezTo>
                  <a:cubicBezTo>
                    <a:pt x="1868" y="466"/>
                    <a:pt x="1868" y="466"/>
                    <a:pt x="1868" y="466"/>
                  </a:cubicBezTo>
                  <a:cubicBezTo>
                    <a:pt x="1876" y="466"/>
                    <a:pt x="1876" y="466"/>
                    <a:pt x="1876" y="466"/>
                  </a:cubicBezTo>
                  <a:cubicBezTo>
                    <a:pt x="1876" y="300"/>
                    <a:pt x="1876" y="300"/>
                    <a:pt x="1876" y="300"/>
                  </a:cubicBezTo>
                  <a:cubicBezTo>
                    <a:pt x="1876" y="255"/>
                    <a:pt x="1910" y="215"/>
                    <a:pt x="1955" y="209"/>
                  </a:cubicBezTo>
                  <a:cubicBezTo>
                    <a:pt x="1965" y="207"/>
                    <a:pt x="1965" y="207"/>
                    <a:pt x="1965" y="207"/>
                  </a:cubicBezTo>
                  <a:cubicBezTo>
                    <a:pt x="1965" y="191"/>
                    <a:pt x="1965" y="191"/>
                    <a:pt x="1965" y="191"/>
                  </a:cubicBezTo>
                  <a:cubicBezTo>
                    <a:pt x="1974" y="191"/>
                    <a:pt x="1974" y="191"/>
                    <a:pt x="1974" y="191"/>
                  </a:cubicBezTo>
                  <a:cubicBezTo>
                    <a:pt x="1974" y="207"/>
                    <a:pt x="1974" y="207"/>
                    <a:pt x="1974" y="207"/>
                  </a:cubicBezTo>
                  <a:cubicBezTo>
                    <a:pt x="1984" y="209"/>
                    <a:pt x="1984" y="209"/>
                    <a:pt x="1984" y="209"/>
                  </a:cubicBezTo>
                  <a:cubicBezTo>
                    <a:pt x="2029" y="217"/>
                    <a:pt x="2061" y="255"/>
                    <a:pt x="2061" y="300"/>
                  </a:cubicBezTo>
                  <a:cubicBezTo>
                    <a:pt x="2061" y="466"/>
                    <a:pt x="2061" y="466"/>
                    <a:pt x="2061" y="466"/>
                  </a:cubicBezTo>
                  <a:cubicBezTo>
                    <a:pt x="2071" y="466"/>
                    <a:pt x="2071" y="466"/>
                    <a:pt x="2071" y="466"/>
                  </a:cubicBezTo>
                  <a:cubicBezTo>
                    <a:pt x="2071" y="484"/>
                    <a:pt x="2071" y="484"/>
                    <a:pt x="2071" y="484"/>
                  </a:cubicBezTo>
                  <a:cubicBezTo>
                    <a:pt x="2061" y="484"/>
                    <a:pt x="2061" y="484"/>
                    <a:pt x="2061" y="484"/>
                  </a:cubicBezTo>
                  <a:cubicBezTo>
                    <a:pt x="2060" y="495"/>
                    <a:pt x="2060" y="495"/>
                    <a:pt x="2060" y="495"/>
                  </a:cubicBezTo>
                  <a:cubicBezTo>
                    <a:pt x="2058" y="513"/>
                    <a:pt x="2050" y="530"/>
                    <a:pt x="2038" y="544"/>
                  </a:cubicBezTo>
                  <a:cubicBezTo>
                    <a:pt x="2034" y="548"/>
                    <a:pt x="2034" y="548"/>
                    <a:pt x="2034" y="548"/>
                  </a:cubicBezTo>
                  <a:cubicBezTo>
                    <a:pt x="2035" y="554"/>
                    <a:pt x="2035" y="554"/>
                    <a:pt x="2035" y="554"/>
                  </a:cubicBezTo>
                  <a:cubicBezTo>
                    <a:pt x="2047" y="619"/>
                    <a:pt x="2074" y="663"/>
                    <a:pt x="2112" y="682"/>
                  </a:cubicBezTo>
                  <a:cubicBezTo>
                    <a:pt x="2114" y="684"/>
                    <a:pt x="2114" y="684"/>
                    <a:pt x="2114" y="684"/>
                  </a:cubicBezTo>
                  <a:cubicBezTo>
                    <a:pt x="2166" y="684"/>
                    <a:pt x="2166" y="684"/>
                    <a:pt x="2166" y="684"/>
                  </a:cubicBezTo>
                  <a:cubicBezTo>
                    <a:pt x="2166" y="624"/>
                    <a:pt x="2166" y="624"/>
                    <a:pt x="2166" y="624"/>
                  </a:cubicBezTo>
                  <a:cubicBezTo>
                    <a:pt x="2220" y="624"/>
                    <a:pt x="2220" y="624"/>
                    <a:pt x="2220" y="624"/>
                  </a:cubicBezTo>
                  <a:cubicBezTo>
                    <a:pt x="2220" y="490"/>
                    <a:pt x="2220" y="490"/>
                    <a:pt x="2220" y="490"/>
                  </a:cubicBezTo>
                  <a:cubicBezTo>
                    <a:pt x="2220" y="470"/>
                    <a:pt x="2235" y="453"/>
                    <a:pt x="2255" y="451"/>
                  </a:cubicBezTo>
                  <a:cubicBezTo>
                    <a:pt x="2259" y="451"/>
                    <a:pt x="2259" y="451"/>
                    <a:pt x="2259" y="451"/>
                  </a:cubicBezTo>
                  <a:cubicBezTo>
                    <a:pt x="2263" y="451"/>
                    <a:pt x="2263" y="451"/>
                    <a:pt x="2263" y="451"/>
                  </a:cubicBezTo>
                  <a:cubicBezTo>
                    <a:pt x="2284" y="453"/>
                    <a:pt x="2300" y="470"/>
                    <a:pt x="2300" y="490"/>
                  </a:cubicBezTo>
                  <a:cubicBezTo>
                    <a:pt x="2300" y="624"/>
                    <a:pt x="2300" y="624"/>
                    <a:pt x="2300" y="624"/>
                  </a:cubicBezTo>
                  <a:cubicBezTo>
                    <a:pt x="2393" y="624"/>
                    <a:pt x="2393" y="624"/>
                    <a:pt x="2393" y="624"/>
                  </a:cubicBezTo>
                  <a:cubicBezTo>
                    <a:pt x="2393" y="490"/>
                    <a:pt x="2393" y="490"/>
                    <a:pt x="2393" y="490"/>
                  </a:cubicBezTo>
                  <a:cubicBezTo>
                    <a:pt x="2393" y="470"/>
                    <a:pt x="2408" y="453"/>
                    <a:pt x="2428" y="451"/>
                  </a:cubicBezTo>
                  <a:cubicBezTo>
                    <a:pt x="2432" y="450"/>
                    <a:pt x="2432" y="450"/>
                    <a:pt x="2432" y="450"/>
                  </a:cubicBezTo>
                  <a:cubicBezTo>
                    <a:pt x="2436" y="451"/>
                    <a:pt x="2436" y="451"/>
                    <a:pt x="2436" y="451"/>
                  </a:cubicBezTo>
                  <a:cubicBezTo>
                    <a:pt x="2457" y="453"/>
                    <a:pt x="2472" y="470"/>
                    <a:pt x="2472" y="490"/>
                  </a:cubicBezTo>
                  <a:cubicBezTo>
                    <a:pt x="2472" y="624"/>
                    <a:pt x="2472" y="624"/>
                    <a:pt x="2472" y="624"/>
                  </a:cubicBezTo>
                  <a:cubicBezTo>
                    <a:pt x="2631" y="624"/>
                    <a:pt x="2631" y="624"/>
                    <a:pt x="2631" y="624"/>
                  </a:cubicBezTo>
                  <a:cubicBezTo>
                    <a:pt x="2631" y="729"/>
                    <a:pt x="2631" y="729"/>
                    <a:pt x="2631" y="729"/>
                  </a:cubicBezTo>
                  <a:cubicBezTo>
                    <a:pt x="2696" y="729"/>
                    <a:pt x="2696" y="729"/>
                    <a:pt x="2696" y="729"/>
                  </a:cubicBezTo>
                  <a:cubicBezTo>
                    <a:pt x="2696" y="837"/>
                    <a:pt x="2696" y="837"/>
                    <a:pt x="2696" y="837"/>
                  </a:cubicBezTo>
                  <a:cubicBezTo>
                    <a:pt x="2745" y="837"/>
                    <a:pt x="2745" y="837"/>
                    <a:pt x="2745" y="837"/>
                  </a:cubicBezTo>
                  <a:cubicBezTo>
                    <a:pt x="2749" y="832"/>
                    <a:pt x="2749" y="832"/>
                    <a:pt x="2749" y="832"/>
                  </a:cubicBezTo>
                  <a:cubicBezTo>
                    <a:pt x="2779" y="793"/>
                    <a:pt x="2852" y="678"/>
                    <a:pt x="2872" y="443"/>
                  </a:cubicBezTo>
                  <a:cubicBezTo>
                    <a:pt x="2872" y="440"/>
                    <a:pt x="2872" y="436"/>
                    <a:pt x="2873" y="432"/>
                  </a:cubicBezTo>
                  <a:cubicBezTo>
                    <a:pt x="2874" y="417"/>
                    <a:pt x="2874" y="417"/>
                    <a:pt x="2874" y="417"/>
                  </a:cubicBezTo>
                  <a:cubicBezTo>
                    <a:pt x="2874" y="417"/>
                    <a:pt x="2874" y="417"/>
                    <a:pt x="2874" y="417"/>
                  </a:cubicBezTo>
                  <a:cubicBezTo>
                    <a:pt x="2874" y="410"/>
                    <a:pt x="2874" y="410"/>
                    <a:pt x="2874" y="410"/>
                  </a:cubicBezTo>
                  <a:cubicBezTo>
                    <a:pt x="2874" y="405"/>
                    <a:pt x="2875" y="400"/>
                    <a:pt x="2875" y="395"/>
                  </a:cubicBezTo>
                  <a:cubicBezTo>
                    <a:pt x="2877" y="350"/>
                    <a:pt x="2877" y="350"/>
                    <a:pt x="2877" y="350"/>
                  </a:cubicBezTo>
                  <a:cubicBezTo>
                    <a:pt x="2865" y="350"/>
                    <a:pt x="2865" y="350"/>
                    <a:pt x="2865" y="350"/>
                  </a:cubicBezTo>
                  <a:cubicBezTo>
                    <a:pt x="2865" y="338"/>
                    <a:pt x="2865" y="338"/>
                    <a:pt x="2865" y="338"/>
                  </a:cubicBezTo>
                  <a:cubicBezTo>
                    <a:pt x="3036" y="338"/>
                    <a:pt x="3036" y="338"/>
                    <a:pt x="3036" y="338"/>
                  </a:cubicBezTo>
                  <a:cubicBezTo>
                    <a:pt x="3036" y="350"/>
                    <a:pt x="3036" y="350"/>
                    <a:pt x="3036" y="350"/>
                  </a:cubicBezTo>
                  <a:cubicBezTo>
                    <a:pt x="3026" y="350"/>
                    <a:pt x="3026" y="350"/>
                    <a:pt x="3026" y="350"/>
                  </a:cubicBezTo>
                  <a:cubicBezTo>
                    <a:pt x="3027" y="382"/>
                    <a:pt x="3027" y="382"/>
                    <a:pt x="3027" y="382"/>
                  </a:cubicBezTo>
                  <a:cubicBezTo>
                    <a:pt x="3027" y="382"/>
                    <a:pt x="3027" y="382"/>
                    <a:pt x="3027" y="382"/>
                  </a:cubicBezTo>
                  <a:cubicBezTo>
                    <a:pt x="3027" y="394"/>
                    <a:pt x="3027" y="394"/>
                    <a:pt x="3027" y="394"/>
                  </a:cubicBezTo>
                  <a:cubicBezTo>
                    <a:pt x="3027" y="400"/>
                    <a:pt x="3027" y="405"/>
                    <a:pt x="3027" y="410"/>
                  </a:cubicBezTo>
                  <a:cubicBezTo>
                    <a:pt x="3028" y="432"/>
                    <a:pt x="3028" y="432"/>
                    <a:pt x="3028" y="432"/>
                  </a:cubicBezTo>
                  <a:cubicBezTo>
                    <a:pt x="3034" y="543"/>
                    <a:pt x="3053" y="637"/>
                    <a:pt x="3086" y="713"/>
                  </a:cubicBezTo>
                  <a:cubicBezTo>
                    <a:pt x="3113" y="777"/>
                    <a:pt x="3143" y="814"/>
                    <a:pt x="3164" y="834"/>
                  </a:cubicBezTo>
                  <a:cubicBezTo>
                    <a:pt x="3168" y="837"/>
                    <a:pt x="3168" y="837"/>
                    <a:pt x="3168" y="837"/>
                  </a:cubicBezTo>
                  <a:cubicBezTo>
                    <a:pt x="3236" y="837"/>
                    <a:pt x="3236" y="837"/>
                    <a:pt x="3236" y="837"/>
                  </a:cubicBezTo>
                  <a:cubicBezTo>
                    <a:pt x="3237" y="841"/>
                    <a:pt x="3238" y="847"/>
                    <a:pt x="3239" y="856"/>
                  </a:cubicBezTo>
                  <a:cubicBezTo>
                    <a:pt x="3241" y="854"/>
                    <a:pt x="3244" y="851"/>
                    <a:pt x="3246" y="849"/>
                  </a:cubicBezTo>
                  <a:cubicBezTo>
                    <a:pt x="3246" y="849"/>
                    <a:pt x="3246" y="848"/>
                    <a:pt x="3246" y="847"/>
                  </a:cubicBezTo>
                  <a:cubicBezTo>
                    <a:pt x="3243" y="829"/>
                    <a:pt x="3243" y="829"/>
                    <a:pt x="3239" y="829"/>
                  </a:cubicBezTo>
                  <a:cubicBezTo>
                    <a:pt x="3237" y="829"/>
                    <a:pt x="3237" y="829"/>
                    <a:pt x="3237" y="829"/>
                  </a:cubicBezTo>
                  <a:cubicBezTo>
                    <a:pt x="3237" y="829"/>
                    <a:pt x="3237" y="829"/>
                    <a:pt x="3237" y="829"/>
                  </a:cubicBezTo>
                  <a:cubicBezTo>
                    <a:pt x="3171" y="829"/>
                    <a:pt x="3171" y="829"/>
                    <a:pt x="3171" y="829"/>
                  </a:cubicBezTo>
                  <a:cubicBezTo>
                    <a:pt x="3170" y="828"/>
                    <a:pt x="3170" y="828"/>
                    <a:pt x="3170" y="828"/>
                  </a:cubicBezTo>
                  <a:cubicBezTo>
                    <a:pt x="3149" y="808"/>
                    <a:pt x="3120" y="772"/>
                    <a:pt x="3093" y="710"/>
                  </a:cubicBezTo>
                  <a:cubicBezTo>
                    <a:pt x="3061" y="635"/>
                    <a:pt x="3042" y="541"/>
                    <a:pt x="3036" y="432"/>
                  </a:cubicBezTo>
                  <a:cubicBezTo>
                    <a:pt x="3036" y="425"/>
                    <a:pt x="3036" y="425"/>
                    <a:pt x="3036" y="425"/>
                  </a:cubicBezTo>
                  <a:cubicBezTo>
                    <a:pt x="3040" y="425"/>
                    <a:pt x="3040" y="425"/>
                    <a:pt x="3040" y="425"/>
                  </a:cubicBezTo>
                  <a:cubicBezTo>
                    <a:pt x="3040" y="413"/>
                    <a:pt x="3040" y="413"/>
                    <a:pt x="3040" y="413"/>
                  </a:cubicBezTo>
                  <a:cubicBezTo>
                    <a:pt x="3035" y="413"/>
                    <a:pt x="3035" y="413"/>
                    <a:pt x="3035" y="413"/>
                  </a:cubicBezTo>
                  <a:cubicBezTo>
                    <a:pt x="3035" y="410"/>
                    <a:pt x="3035" y="410"/>
                    <a:pt x="3035" y="410"/>
                  </a:cubicBezTo>
                  <a:cubicBezTo>
                    <a:pt x="3035" y="405"/>
                    <a:pt x="3035" y="400"/>
                    <a:pt x="3035" y="394"/>
                  </a:cubicBezTo>
                  <a:cubicBezTo>
                    <a:pt x="3035" y="390"/>
                    <a:pt x="3035" y="390"/>
                    <a:pt x="3035" y="390"/>
                  </a:cubicBezTo>
                  <a:cubicBezTo>
                    <a:pt x="3040" y="390"/>
                    <a:pt x="3040" y="390"/>
                    <a:pt x="3040" y="390"/>
                  </a:cubicBezTo>
                  <a:cubicBezTo>
                    <a:pt x="3040" y="378"/>
                    <a:pt x="3040" y="378"/>
                    <a:pt x="3040" y="378"/>
                  </a:cubicBezTo>
                  <a:cubicBezTo>
                    <a:pt x="3035" y="378"/>
                    <a:pt x="3035" y="378"/>
                    <a:pt x="3035" y="378"/>
                  </a:cubicBezTo>
                  <a:cubicBezTo>
                    <a:pt x="3034" y="358"/>
                    <a:pt x="3034" y="358"/>
                    <a:pt x="3034" y="358"/>
                  </a:cubicBezTo>
                  <a:cubicBezTo>
                    <a:pt x="3044" y="358"/>
                    <a:pt x="3044" y="358"/>
                    <a:pt x="3044" y="358"/>
                  </a:cubicBezTo>
                  <a:cubicBezTo>
                    <a:pt x="3044" y="330"/>
                    <a:pt x="3044" y="330"/>
                    <a:pt x="3044" y="330"/>
                  </a:cubicBezTo>
                  <a:cubicBezTo>
                    <a:pt x="2857" y="330"/>
                    <a:pt x="2857" y="330"/>
                    <a:pt x="2857" y="330"/>
                  </a:cubicBezTo>
                  <a:cubicBezTo>
                    <a:pt x="2857" y="358"/>
                    <a:pt x="2857" y="358"/>
                    <a:pt x="2857" y="358"/>
                  </a:cubicBezTo>
                  <a:cubicBezTo>
                    <a:pt x="2868" y="358"/>
                    <a:pt x="2868" y="358"/>
                    <a:pt x="2868" y="358"/>
                  </a:cubicBezTo>
                  <a:cubicBezTo>
                    <a:pt x="2868" y="378"/>
                    <a:pt x="2868" y="378"/>
                    <a:pt x="2868" y="378"/>
                  </a:cubicBezTo>
                  <a:cubicBezTo>
                    <a:pt x="2862" y="378"/>
                    <a:pt x="2862" y="378"/>
                    <a:pt x="2862" y="378"/>
                  </a:cubicBezTo>
                  <a:cubicBezTo>
                    <a:pt x="2862" y="390"/>
                    <a:pt x="2862" y="390"/>
                    <a:pt x="2862" y="390"/>
                  </a:cubicBezTo>
                  <a:cubicBezTo>
                    <a:pt x="2867" y="390"/>
                    <a:pt x="2867" y="390"/>
                    <a:pt x="2867" y="390"/>
                  </a:cubicBezTo>
                  <a:cubicBezTo>
                    <a:pt x="2867" y="394"/>
                    <a:pt x="2867" y="394"/>
                    <a:pt x="2867" y="394"/>
                  </a:cubicBezTo>
                  <a:cubicBezTo>
                    <a:pt x="2867" y="400"/>
                    <a:pt x="2866" y="405"/>
                    <a:pt x="2866" y="410"/>
                  </a:cubicBezTo>
                  <a:cubicBezTo>
                    <a:pt x="2866" y="413"/>
                    <a:pt x="2866" y="413"/>
                    <a:pt x="2866" y="413"/>
                  </a:cubicBezTo>
                  <a:cubicBezTo>
                    <a:pt x="2862" y="413"/>
                    <a:pt x="2862" y="413"/>
                    <a:pt x="2862" y="413"/>
                  </a:cubicBezTo>
                  <a:cubicBezTo>
                    <a:pt x="2862" y="425"/>
                    <a:pt x="2862" y="425"/>
                    <a:pt x="2862" y="425"/>
                  </a:cubicBezTo>
                  <a:cubicBezTo>
                    <a:pt x="2865" y="425"/>
                    <a:pt x="2865" y="425"/>
                    <a:pt x="2865" y="425"/>
                  </a:cubicBezTo>
                  <a:cubicBezTo>
                    <a:pt x="2865" y="432"/>
                    <a:pt x="2865" y="432"/>
                    <a:pt x="2865" y="432"/>
                  </a:cubicBezTo>
                  <a:cubicBezTo>
                    <a:pt x="2864" y="435"/>
                    <a:pt x="2864" y="439"/>
                    <a:pt x="2864" y="442"/>
                  </a:cubicBezTo>
                  <a:cubicBezTo>
                    <a:pt x="2844" y="675"/>
                    <a:pt x="2772" y="789"/>
                    <a:pt x="2743" y="827"/>
                  </a:cubicBezTo>
                  <a:cubicBezTo>
                    <a:pt x="2741" y="829"/>
                    <a:pt x="2741" y="829"/>
                    <a:pt x="2741" y="829"/>
                  </a:cubicBezTo>
                  <a:cubicBezTo>
                    <a:pt x="2704" y="829"/>
                    <a:pt x="2704" y="829"/>
                    <a:pt x="2704" y="829"/>
                  </a:cubicBezTo>
                  <a:cubicBezTo>
                    <a:pt x="2704" y="721"/>
                    <a:pt x="2704" y="721"/>
                    <a:pt x="2704" y="721"/>
                  </a:cubicBezTo>
                  <a:cubicBezTo>
                    <a:pt x="2639" y="721"/>
                    <a:pt x="2639" y="721"/>
                    <a:pt x="2639" y="721"/>
                  </a:cubicBezTo>
                  <a:cubicBezTo>
                    <a:pt x="2639" y="616"/>
                    <a:pt x="2639" y="616"/>
                    <a:pt x="2639" y="616"/>
                  </a:cubicBezTo>
                  <a:cubicBezTo>
                    <a:pt x="2480" y="616"/>
                    <a:pt x="2480" y="616"/>
                    <a:pt x="2480" y="616"/>
                  </a:cubicBezTo>
                  <a:cubicBezTo>
                    <a:pt x="2480" y="490"/>
                    <a:pt x="2480" y="490"/>
                    <a:pt x="2480" y="490"/>
                  </a:cubicBezTo>
                  <a:cubicBezTo>
                    <a:pt x="2480" y="466"/>
                    <a:pt x="2461" y="445"/>
                    <a:pt x="2437" y="443"/>
                  </a:cubicBezTo>
                  <a:cubicBezTo>
                    <a:pt x="2432" y="442"/>
                    <a:pt x="2432" y="442"/>
                    <a:pt x="2432" y="442"/>
                  </a:cubicBezTo>
                  <a:cubicBezTo>
                    <a:pt x="2427" y="443"/>
                    <a:pt x="2427" y="443"/>
                    <a:pt x="2427" y="443"/>
                  </a:cubicBezTo>
                  <a:cubicBezTo>
                    <a:pt x="2403" y="446"/>
                    <a:pt x="2385" y="466"/>
                    <a:pt x="2385" y="490"/>
                  </a:cubicBezTo>
                  <a:cubicBezTo>
                    <a:pt x="2385" y="616"/>
                    <a:pt x="2385" y="616"/>
                    <a:pt x="2385" y="616"/>
                  </a:cubicBezTo>
                  <a:cubicBezTo>
                    <a:pt x="2308" y="616"/>
                    <a:pt x="2308" y="616"/>
                    <a:pt x="2308" y="616"/>
                  </a:cubicBezTo>
                  <a:cubicBezTo>
                    <a:pt x="2308" y="490"/>
                    <a:pt x="2308" y="490"/>
                    <a:pt x="2308" y="490"/>
                  </a:cubicBezTo>
                  <a:cubicBezTo>
                    <a:pt x="2308" y="466"/>
                    <a:pt x="2289" y="445"/>
                    <a:pt x="2264" y="443"/>
                  </a:cubicBezTo>
                  <a:cubicBezTo>
                    <a:pt x="2259" y="442"/>
                    <a:pt x="2259" y="442"/>
                    <a:pt x="2259" y="442"/>
                  </a:cubicBezTo>
                  <a:cubicBezTo>
                    <a:pt x="2254" y="443"/>
                    <a:pt x="2254" y="443"/>
                    <a:pt x="2254" y="443"/>
                  </a:cubicBezTo>
                  <a:cubicBezTo>
                    <a:pt x="2230" y="446"/>
                    <a:pt x="2212" y="466"/>
                    <a:pt x="2212" y="490"/>
                  </a:cubicBezTo>
                  <a:cubicBezTo>
                    <a:pt x="2212" y="616"/>
                    <a:pt x="2212" y="616"/>
                    <a:pt x="2212" y="616"/>
                  </a:cubicBezTo>
                  <a:cubicBezTo>
                    <a:pt x="2158" y="616"/>
                    <a:pt x="2158" y="616"/>
                    <a:pt x="2158" y="616"/>
                  </a:cubicBezTo>
                  <a:cubicBezTo>
                    <a:pt x="2158" y="676"/>
                    <a:pt x="2158" y="676"/>
                    <a:pt x="2158" y="676"/>
                  </a:cubicBezTo>
                  <a:cubicBezTo>
                    <a:pt x="2116" y="676"/>
                    <a:pt x="2116" y="676"/>
                    <a:pt x="2116" y="676"/>
                  </a:cubicBezTo>
                  <a:cubicBezTo>
                    <a:pt x="2115" y="675"/>
                    <a:pt x="2115" y="675"/>
                    <a:pt x="2115" y="675"/>
                  </a:cubicBezTo>
                  <a:cubicBezTo>
                    <a:pt x="2080" y="657"/>
                    <a:pt x="2055" y="615"/>
                    <a:pt x="2043" y="552"/>
                  </a:cubicBezTo>
                  <a:cubicBezTo>
                    <a:pt x="2043" y="551"/>
                    <a:pt x="2043" y="551"/>
                    <a:pt x="2043" y="551"/>
                  </a:cubicBezTo>
                  <a:cubicBezTo>
                    <a:pt x="2044" y="549"/>
                    <a:pt x="2044" y="549"/>
                    <a:pt x="2044" y="549"/>
                  </a:cubicBezTo>
                  <a:cubicBezTo>
                    <a:pt x="2057" y="534"/>
                    <a:pt x="2065" y="515"/>
                    <a:pt x="2068" y="496"/>
                  </a:cubicBezTo>
                  <a:cubicBezTo>
                    <a:pt x="2068" y="492"/>
                    <a:pt x="2068" y="492"/>
                    <a:pt x="2068" y="492"/>
                  </a:cubicBezTo>
                  <a:cubicBezTo>
                    <a:pt x="2079" y="492"/>
                    <a:pt x="2079" y="492"/>
                    <a:pt x="2079" y="492"/>
                  </a:cubicBezTo>
                  <a:cubicBezTo>
                    <a:pt x="2079" y="458"/>
                    <a:pt x="2079" y="458"/>
                    <a:pt x="2079" y="458"/>
                  </a:cubicBezTo>
                  <a:cubicBezTo>
                    <a:pt x="2069" y="458"/>
                    <a:pt x="2069" y="458"/>
                    <a:pt x="2069" y="458"/>
                  </a:cubicBezTo>
                  <a:cubicBezTo>
                    <a:pt x="2069" y="372"/>
                    <a:pt x="2069" y="372"/>
                    <a:pt x="2069" y="372"/>
                  </a:cubicBezTo>
                  <a:cubicBezTo>
                    <a:pt x="2072" y="372"/>
                    <a:pt x="2072" y="372"/>
                    <a:pt x="2072" y="372"/>
                  </a:cubicBezTo>
                  <a:cubicBezTo>
                    <a:pt x="2072" y="361"/>
                    <a:pt x="2072" y="361"/>
                    <a:pt x="2072" y="361"/>
                  </a:cubicBezTo>
                  <a:cubicBezTo>
                    <a:pt x="2069" y="361"/>
                    <a:pt x="2069" y="361"/>
                    <a:pt x="2069" y="361"/>
                  </a:cubicBezTo>
                  <a:cubicBezTo>
                    <a:pt x="2069" y="300"/>
                    <a:pt x="2069" y="300"/>
                    <a:pt x="2069" y="300"/>
                  </a:cubicBezTo>
                  <a:cubicBezTo>
                    <a:pt x="2069" y="251"/>
                    <a:pt x="2034" y="210"/>
                    <a:pt x="1986" y="201"/>
                  </a:cubicBezTo>
                  <a:cubicBezTo>
                    <a:pt x="1982" y="201"/>
                    <a:pt x="1982" y="201"/>
                    <a:pt x="1982" y="201"/>
                  </a:cubicBezTo>
                  <a:cubicBezTo>
                    <a:pt x="1982" y="183"/>
                    <a:pt x="1982" y="183"/>
                    <a:pt x="1982" y="183"/>
                  </a:cubicBezTo>
                  <a:cubicBezTo>
                    <a:pt x="1957" y="183"/>
                    <a:pt x="1957" y="183"/>
                    <a:pt x="1957" y="183"/>
                  </a:cubicBezTo>
                  <a:cubicBezTo>
                    <a:pt x="1957" y="200"/>
                    <a:pt x="1957" y="200"/>
                    <a:pt x="1957" y="200"/>
                  </a:cubicBezTo>
                  <a:cubicBezTo>
                    <a:pt x="1954" y="201"/>
                    <a:pt x="1954" y="201"/>
                    <a:pt x="1954" y="201"/>
                  </a:cubicBezTo>
                  <a:cubicBezTo>
                    <a:pt x="1905" y="208"/>
                    <a:pt x="1868" y="251"/>
                    <a:pt x="1868" y="300"/>
                  </a:cubicBezTo>
                  <a:cubicBezTo>
                    <a:pt x="1868" y="361"/>
                    <a:pt x="1868" y="361"/>
                    <a:pt x="1868" y="361"/>
                  </a:cubicBezTo>
                  <a:cubicBezTo>
                    <a:pt x="1866" y="361"/>
                    <a:pt x="1866" y="361"/>
                    <a:pt x="1866" y="361"/>
                  </a:cubicBezTo>
                  <a:cubicBezTo>
                    <a:pt x="1866" y="372"/>
                    <a:pt x="1866" y="372"/>
                    <a:pt x="1866" y="372"/>
                  </a:cubicBezTo>
                  <a:cubicBezTo>
                    <a:pt x="1868" y="372"/>
                    <a:pt x="1868" y="372"/>
                    <a:pt x="1868" y="372"/>
                  </a:cubicBezTo>
                  <a:cubicBezTo>
                    <a:pt x="1868" y="458"/>
                    <a:pt x="1868" y="458"/>
                    <a:pt x="1868" y="458"/>
                  </a:cubicBezTo>
                  <a:cubicBezTo>
                    <a:pt x="1860" y="458"/>
                    <a:pt x="1860" y="458"/>
                    <a:pt x="1860" y="458"/>
                  </a:cubicBezTo>
                  <a:cubicBezTo>
                    <a:pt x="1860" y="492"/>
                    <a:pt x="1860" y="492"/>
                    <a:pt x="1860" y="492"/>
                  </a:cubicBezTo>
                  <a:cubicBezTo>
                    <a:pt x="1868" y="492"/>
                    <a:pt x="1868" y="492"/>
                    <a:pt x="1868" y="492"/>
                  </a:cubicBezTo>
                  <a:cubicBezTo>
                    <a:pt x="1869" y="496"/>
                    <a:pt x="1869" y="496"/>
                    <a:pt x="1869" y="496"/>
                  </a:cubicBezTo>
                  <a:cubicBezTo>
                    <a:pt x="1871" y="518"/>
                    <a:pt x="1881" y="538"/>
                    <a:pt x="1897" y="554"/>
                  </a:cubicBezTo>
                  <a:cubicBezTo>
                    <a:pt x="1898" y="556"/>
                    <a:pt x="1898" y="556"/>
                    <a:pt x="1898" y="556"/>
                  </a:cubicBezTo>
                  <a:cubicBezTo>
                    <a:pt x="1898" y="558"/>
                    <a:pt x="1898" y="558"/>
                    <a:pt x="1898" y="558"/>
                  </a:cubicBezTo>
                  <a:cubicBezTo>
                    <a:pt x="1886" y="617"/>
                    <a:pt x="1862" y="657"/>
                    <a:pt x="1827" y="675"/>
                  </a:cubicBezTo>
                  <a:cubicBezTo>
                    <a:pt x="1826" y="676"/>
                    <a:pt x="1826" y="676"/>
                    <a:pt x="1826" y="676"/>
                  </a:cubicBezTo>
                  <a:cubicBezTo>
                    <a:pt x="1783" y="676"/>
                    <a:pt x="1783" y="676"/>
                    <a:pt x="1783" y="676"/>
                  </a:cubicBezTo>
                  <a:cubicBezTo>
                    <a:pt x="1783" y="689"/>
                    <a:pt x="1783" y="689"/>
                    <a:pt x="1783" y="689"/>
                  </a:cubicBezTo>
                  <a:cubicBezTo>
                    <a:pt x="1694" y="689"/>
                    <a:pt x="1694" y="689"/>
                    <a:pt x="1694" y="689"/>
                  </a:cubicBezTo>
                  <a:cubicBezTo>
                    <a:pt x="1694" y="565"/>
                    <a:pt x="1694" y="565"/>
                    <a:pt x="1694" y="565"/>
                  </a:cubicBezTo>
                  <a:cubicBezTo>
                    <a:pt x="1603" y="565"/>
                    <a:pt x="1603" y="565"/>
                    <a:pt x="1603" y="565"/>
                  </a:cubicBezTo>
                  <a:cubicBezTo>
                    <a:pt x="1592" y="433"/>
                    <a:pt x="1592" y="433"/>
                    <a:pt x="1592" y="433"/>
                  </a:cubicBezTo>
                  <a:cubicBezTo>
                    <a:pt x="1574" y="433"/>
                    <a:pt x="1574" y="433"/>
                    <a:pt x="1574" y="433"/>
                  </a:cubicBezTo>
                  <a:cubicBezTo>
                    <a:pt x="1568" y="19"/>
                    <a:pt x="1568" y="19"/>
                    <a:pt x="1568" y="19"/>
                  </a:cubicBezTo>
                  <a:cubicBezTo>
                    <a:pt x="1570" y="18"/>
                    <a:pt x="1570" y="18"/>
                    <a:pt x="1570" y="18"/>
                  </a:cubicBezTo>
                  <a:cubicBezTo>
                    <a:pt x="1574" y="17"/>
                    <a:pt x="1576" y="13"/>
                    <a:pt x="1576" y="10"/>
                  </a:cubicBezTo>
                  <a:cubicBezTo>
                    <a:pt x="1576" y="4"/>
                    <a:pt x="1572" y="0"/>
                    <a:pt x="1566" y="0"/>
                  </a:cubicBezTo>
                  <a:cubicBezTo>
                    <a:pt x="1518" y="0"/>
                    <a:pt x="1518" y="0"/>
                    <a:pt x="1518" y="0"/>
                  </a:cubicBezTo>
                  <a:cubicBezTo>
                    <a:pt x="1512" y="0"/>
                    <a:pt x="1508" y="4"/>
                    <a:pt x="1508" y="10"/>
                  </a:cubicBezTo>
                  <a:cubicBezTo>
                    <a:pt x="1508" y="14"/>
                    <a:pt x="1511" y="17"/>
                    <a:pt x="1515" y="19"/>
                  </a:cubicBezTo>
                  <a:cubicBezTo>
                    <a:pt x="1518" y="20"/>
                    <a:pt x="1518" y="20"/>
                    <a:pt x="1518" y="20"/>
                  </a:cubicBezTo>
                  <a:cubicBezTo>
                    <a:pt x="1510" y="433"/>
                    <a:pt x="1510" y="433"/>
                    <a:pt x="1510" y="433"/>
                  </a:cubicBezTo>
                  <a:cubicBezTo>
                    <a:pt x="1497" y="433"/>
                    <a:pt x="1497" y="433"/>
                    <a:pt x="1497" y="433"/>
                  </a:cubicBezTo>
                  <a:cubicBezTo>
                    <a:pt x="1484" y="565"/>
                    <a:pt x="1484" y="565"/>
                    <a:pt x="1484" y="565"/>
                  </a:cubicBezTo>
                  <a:cubicBezTo>
                    <a:pt x="1396" y="565"/>
                    <a:pt x="1396" y="565"/>
                    <a:pt x="1396" y="565"/>
                  </a:cubicBezTo>
                  <a:cubicBezTo>
                    <a:pt x="1386" y="433"/>
                    <a:pt x="1386" y="433"/>
                    <a:pt x="1386" y="433"/>
                  </a:cubicBezTo>
                  <a:cubicBezTo>
                    <a:pt x="1367" y="433"/>
                    <a:pt x="1367" y="433"/>
                    <a:pt x="1367" y="433"/>
                  </a:cubicBezTo>
                  <a:cubicBezTo>
                    <a:pt x="1362" y="116"/>
                    <a:pt x="1362" y="116"/>
                    <a:pt x="1362" y="116"/>
                  </a:cubicBezTo>
                  <a:cubicBezTo>
                    <a:pt x="1363" y="115"/>
                    <a:pt x="1363" y="115"/>
                    <a:pt x="1363" y="115"/>
                  </a:cubicBezTo>
                  <a:cubicBezTo>
                    <a:pt x="1366" y="113"/>
                    <a:pt x="1368" y="110"/>
                    <a:pt x="1368" y="107"/>
                  </a:cubicBezTo>
                  <a:cubicBezTo>
                    <a:pt x="1368" y="101"/>
                    <a:pt x="1363" y="97"/>
                    <a:pt x="1358" y="97"/>
                  </a:cubicBezTo>
                  <a:cubicBezTo>
                    <a:pt x="1309" y="97"/>
                    <a:pt x="1309" y="97"/>
                    <a:pt x="1309" y="97"/>
                  </a:cubicBezTo>
                  <a:cubicBezTo>
                    <a:pt x="1304" y="97"/>
                    <a:pt x="1300" y="101"/>
                    <a:pt x="1300" y="107"/>
                  </a:cubicBezTo>
                  <a:cubicBezTo>
                    <a:pt x="1300" y="111"/>
                    <a:pt x="1303" y="115"/>
                    <a:pt x="1308" y="116"/>
                  </a:cubicBezTo>
                  <a:cubicBezTo>
                    <a:pt x="1311" y="117"/>
                    <a:pt x="1311" y="117"/>
                    <a:pt x="1311" y="117"/>
                  </a:cubicBezTo>
                  <a:cubicBezTo>
                    <a:pt x="1304" y="433"/>
                    <a:pt x="1304" y="433"/>
                    <a:pt x="1304" y="433"/>
                  </a:cubicBezTo>
                  <a:cubicBezTo>
                    <a:pt x="1291" y="433"/>
                    <a:pt x="1291" y="433"/>
                    <a:pt x="1291" y="433"/>
                  </a:cubicBezTo>
                  <a:cubicBezTo>
                    <a:pt x="1277" y="565"/>
                    <a:pt x="1277" y="565"/>
                    <a:pt x="1277" y="565"/>
                  </a:cubicBezTo>
                  <a:cubicBezTo>
                    <a:pt x="1197" y="565"/>
                    <a:pt x="1197" y="565"/>
                    <a:pt x="1197" y="565"/>
                  </a:cubicBezTo>
                  <a:cubicBezTo>
                    <a:pt x="1187" y="433"/>
                    <a:pt x="1187" y="433"/>
                    <a:pt x="1187" y="433"/>
                  </a:cubicBezTo>
                  <a:cubicBezTo>
                    <a:pt x="1171" y="433"/>
                    <a:pt x="1171" y="433"/>
                    <a:pt x="1171" y="433"/>
                  </a:cubicBezTo>
                  <a:cubicBezTo>
                    <a:pt x="1167" y="228"/>
                    <a:pt x="1167" y="228"/>
                    <a:pt x="1167" y="228"/>
                  </a:cubicBezTo>
                  <a:cubicBezTo>
                    <a:pt x="1169" y="227"/>
                    <a:pt x="1169" y="227"/>
                    <a:pt x="1169" y="227"/>
                  </a:cubicBezTo>
                  <a:cubicBezTo>
                    <a:pt x="1173" y="225"/>
                    <a:pt x="1175" y="222"/>
                    <a:pt x="1175" y="218"/>
                  </a:cubicBezTo>
                  <a:cubicBezTo>
                    <a:pt x="1175" y="213"/>
                    <a:pt x="1170" y="208"/>
                    <a:pt x="1165" y="208"/>
                  </a:cubicBezTo>
                  <a:cubicBezTo>
                    <a:pt x="1116" y="208"/>
                    <a:pt x="1116" y="208"/>
                    <a:pt x="1116" y="208"/>
                  </a:cubicBezTo>
                  <a:cubicBezTo>
                    <a:pt x="1111" y="208"/>
                    <a:pt x="1107" y="213"/>
                    <a:pt x="1107" y="218"/>
                  </a:cubicBezTo>
                  <a:cubicBezTo>
                    <a:pt x="1107" y="222"/>
                    <a:pt x="1109" y="226"/>
                    <a:pt x="1114" y="227"/>
                  </a:cubicBezTo>
                  <a:cubicBezTo>
                    <a:pt x="1117" y="228"/>
                    <a:pt x="1117" y="228"/>
                    <a:pt x="1117" y="228"/>
                  </a:cubicBezTo>
                  <a:cubicBezTo>
                    <a:pt x="1111" y="433"/>
                    <a:pt x="1111" y="433"/>
                    <a:pt x="1111" y="433"/>
                  </a:cubicBezTo>
                  <a:cubicBezTo>
                    <a:pt x="1092" y="433"/>
                    <a:pt x="1092" y="433"/>
                    <a:pt x="1092" y="433"/>
                  </a:cubicBezTo>
                  <a:cubicBezTo>
                    <a:pt x="1078" y="565"/>
                    <a:pt x="1078" y="565"/>
                    <a:pt x="1078" y="565"/>
                  </a:cubicBezTo>
                  <a:cubicBezTo>
                    <a:pt x="973" y="565"/>
                    <a:pt x="973" y="565"/>
                    <a:pt x="973" y="565"/>
                  </a:cubicBezTo>
                  <a:cubicBezTo>
                    <a:pt x="973" y="689"/>
                    <a:pt x="973" y="689"/>
                    <a:pt x="973" y="689"/>
                  </a:cubicBezTo>
                  <a:cubicBezTo>
                    <a:pt x="867" y="684"/>
                    <a:pt x="867" y="684"/>
                    <a:pt x="867" y="684"/>
                  </a:cubicBezTo>
                  <a:cubicBezTo>
                    <a:pt x="867" y="463"/>
                    <a:pt x="867" y="463"/>
                    <a:pt x="867" y="463"/>
                  </a:cubicBezTo>
                  <a:cubicBezTo>
                    <a:pt x="677" y="520"/>
                    <a:pt x="677" y="520"/>
                    <a:pt x="677" y="520"/>
                  </a:cubicBezTo>
                  <a:cubicBezTo>
                    <a:pt x="677" y="463"/>
                    <a:pt x="677" y="463"/>
                    <a:pt x="677" y="463"/>
                  </a:cubicBezTo>
                  <a:cubicBezTo>
                    <a:pt x="486" y="520"/>
                    <a:pt x="486" y="520"/>
                    <a:pt x="486" y="520"/>
                  </a:cubicBezTo>
                  <a:cubicBezTo>
                    <a:pt x="486" y="463"/>
                    <a:pt x="486" y="463"/>
                    <a:pt x="486" y="463"/>
                  </a:cubicBezTo>
                  <a:cubicBezTo>
                    <a:pt x="294" y="521"/>
                    <a:pt x="294" y="521"/>
                    <a:pt x="294" y="521"/>
                  </a:cubicBezTo>
                  <a:cubicBezTo>
                    <a:pt x="294" y="684"/>
                    <a:pt x="294" y="684"/>
                    <a:pt x="294" y="684"/>
                  </a:cubicBezTo>
                  <a:cubicBezTo>
                    <a:pt x="199" y="684"/>
                    <a:pt x="199" y="684"/>
                    <a:pt x="199" y="684"/>
                  </a:cubicBezTo>
                  <a:cubicBezTo>
                    <a:pt x="185" y="252"/>
                    <a:pt x="185" y="252"/>
                    <a:pt x="185" y="252"/>
                  </a:cubicBezTo>
                  <a:cubicBezTo>
                    <a:pt x="193" y="251"/>
                    <a:pt x="200" y="245"/>
                    <a:pt x="200" y="236"/>
                  </a:cubicBezTo>
                  <a:cubicBezTo>
                    <a:pt x="200" y="228"/>
                    <a:pt x="193" y="221"/>
                    <a:pt x="184" y="221"/>
                  </a:cubicBezTo>
                  <a:cubicBezTo>
                    <a:pt x="80" y="221"/>
                    <a:pt x="80" y="221"/>
                    <a:pt x="80" y="221"/>
                  </a:cubicBezTo>
                  <a:cubicBezTo>
                    <a:pt x="72" y="221"/>
                    <a:pt x="65" y="228"/>
                    <a:pt x="65" y="236"/>
                  </a:cubicBezTo>
                  <a:cubicBezTo>
                    <a:pt x="65" y="244"/>
                    <a:pt x="71" y="251"/>
                    <a:pt x="79" y="252"/>
                  </a:cubicBezTo>
                  <a:cubicBezTo>
                    <a:pt x="62" y="723"/>
                    <a:pt x="62" y="723"/>
                    <a:pt x="62" y="723"/>
                  </a:cubicBezTo>
                  <a:cubicBezTo>
                    <a:pt x="40" y="721"/>
                    <a:pt x="10" y="718"/>
                    <a:pt x="7" y="716"/>
                  </a:cubicBezTo>
                  <a:cubicBezTo>
                    <a:pt x="8" y="717"/>
                    <a:pt x="9" y="718"/>
                    <a:pt x="9" y="720"/>
                  </a:cubicBezTo>
                  <a:cubicBezTo>
                    <a:pt x="1" y="719"/>
                    <a:pt x="1" y="719"/>
                    <a:pt x="1" y="719"/>
                  </a:cubicBezTo>
                  <a:cubicBezTo>
                    <a:pt x="1" y="722"/>
                    <a:pt x="1" y="722"/>
                    <a:pt x="1" y="722"/>
                  </a:cubicBezTo>
                  <a:cubicBezTo>
                    <a:pt x="0" y="771"/>
                    <a:pt x="0" y="771"/>
                    <a:pt x="0" y="771"/>
                  </a:cubicBezTo>
                  <a:cubicBezTo>
                    <a:pt x="3" y="772"/>
                    <a:pt x="6" y="774"/>
                    <a:pt x="8" y="776"/>
                  </a:cubicBezTo>
                  <a:close/>
                </a:path>
              </a:pathLst>
            </a:custGeom>
            <a:grpFill/>
            <a:ln w="12700" cap="flat">
              <a:solidFill>
                <a:schemeClr val="bg1">
                  <a:alpha val="1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dirty="0"/>
            </a:p>
          </p:txBody>
        </p:sp>
      </p:grp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4688" y="4520206"/>
            <a:ext cx="10845800" cy="558799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9451" y="1859556"/>
            <a:ext cx="10845800" cy="2477922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837829"/>
            <a:ext cx="10845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837829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4090820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=""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08069F-ACFA-4060-8519-6040F8ED5633}" type="datetime1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=""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=""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=""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=""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6585084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>
            <a:extLst>
              <a:ext uri="{FF2B5EF4-FFF2-40B4-BE49-F238E27FC236}">
                <a16:creationId xmlns="" xmlns:a16="http://schemas.microsoft.com/office/drawing/2014/main" id="{B62915A8-FE38-46F3-A424-354E29AB85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3566211" y="3429000"/>
            <a:ext cx="5419185" cy="895350"/>
          </a:xfrm>
        </p:spPr>
        <p:txBody>
          <a:bodyPr anchor="b">
            <a:normAutofit/>
          </a:bodyPr>
          <a:lstStyle>
            <a:lvl1pPr algn="ctr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3566211" y="4324350"/>
            <a:ext cx="5419185" cy="1015623"/>
          </a:xfrm>
        </p:spPr>
        <p:txBody>
          <a:bodyPr anchor="t">
            <a:norm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9436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1C463E-C555-4902-BA61-15EE0510BD4F}" type="datetime1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849705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6961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="" xmlns:a16="http://schemas.microsoft.com/office/drawing/2014/main" id="{D3F0207C-4577-4F00-9E58-45B0F444DBC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</a:endParaRPr>
          </a:p>
        </p:txBody>
      </p:sp>
      <p:grpSp>
        <p:nvGrpSpPr>
          <p:cNvPr id="7" name="组合 6">
            <a:extLst>
              <a:ext uri="{FF2B5EF4-FFF2-40B4-BE49-F238E27FC236}">
                <a16:creationId xmlns="" xmlns:a16="http://schemas.microsoft.com/office/drawing/2014/main" id="{FDBCAA77-76BF-4661-8207-2459C6652BA1}"/>
              </a:ext>
            </a:extLst>
          </p:cNvPr>
          <p:cNvGrpSpPr/>
          <p:nvPr userDrawn="1"/>
        </p:nvGrpSpPr>
        <p:grpSpPr>
          <a:xfrm>
            <a:off x="744536" y="3143568"/>
            <a:ext cx="10702925" cy="3683000"/>
            <a:chOff x="744538" y="1584325"/>
            <a:chExt cx="10702925" cy="3683000"/>
          </a:xfrm>
          <a:solidFill>
            <a:schemeClr val="bg1">
              <a:alpha val="57000"/>
            </a:schemeClr>
          </a:solidFill>
        </p:grpSpPr>
        <p:sp>
          <p:nvSpPr>
            <p:cNvPr id="8" name="Rectangle 5">
              <a:extLst>
                <a:ext uri="{FF2B5EF4-FFF2-40B4-BE49-F238E27FC236}">
                  <a16:creationId xmlns="" xmlns:a16="http://schemas.microsoft.com/office/drawing/2014/main" id="{3AB13680-A5D0-4094-8957-9651F8D045D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046288" y="4478338"/>
              <a:ext cx="106363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9" name="Rectangle 6">
              <a:extLst>
                <a:ext uri="{FF2B5EF4-FFF2-40B4-BE49-F238E27FC236}">
                  <a16:creationId xmlns="" xmlns:a16="http://schemas.microsoft.com/office/drawing/2014/main" id="{30251CD2-C4AF-4EC3-AC54-B19F9ADA712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532063" y="4478338"/>
              <a:ext cx="101600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0" name="Rectangle 7">
              <a:extLst>
                <a:ext uri="{FF2B5EF4-FFF2-40B4-BE49-F238E27FC236}">
                  <a16:creationId xmlns="" xmlns:a16="http://schemas.microsoft.com/office/drawing/2014/main" id="{460CF7A2-E180-47A6-9A11-9ACCE53C525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2686051" y="4478338"/>
              <a:ext cx="106363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1" name="Rectangle 8">
              <a:extLst>
                <a:ext uri="{FF2B5EF4-FFF2-40B4-BE49-F238E27FC236}">
                  <a16:creationId xmlns="" xmlns:a16="http://schemas.microsoft.com/office/drawing/2014/main" id="{207FDC3D-57DE-4725-A4BC-3584601EEA6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117851" y="4478338"/>
              <a:ext cx="103188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2" name="Rectangle 9">
              <a:extLst>
                <a:ext uri="{FF2B5EF4-FFF2-40B4-BE49-F238E27FC236}">
                  <a16:creationId xmlns="" xmlns:a16="http://schemas.microsoft.com/office/drawing/2014/main" id="{78E6806A-5BE9-4FEA-997F-66BDA656FAB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273426" y="4478338"/>
              <a:ext cx="106363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4" name="Rectangle 10">
              <a:extLst>
                <a:ext uri="{FF2B5EF4-FFF2-40B4-BE49-F238E27FC236}">
                  <a16:creationId xmlns="" xmlns:a16="http://schemas.microsoft.com/office/drawing/2014/main" id="{0E4691A5-198B-4D83-9239-8FF87B6C78E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77201" y="4699000"/>
              <a:ext cx="1101725" cy="8890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6" name="Rectangle 11">
              <a:extLst>
                <a:ext uri="{FF2B5EF4-FFF2-40B4-BE49-F238E27FC236}">
                  <a16:creationId xmlns="" xmlns:a16="http://schemas.microsoft.com/office/drawing/2014/main" id="{DCF633EE-2F52-4EAE-A42F-E3272503D98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8077201" y="4854575"/>
              <a:ext cx="1101725" cy="8890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7" name="Rectangle 12">
              <a:extLst>
                <a:ext uri="{FF2B5EF4-FFF2-40B4-BE49-F238E27FC236}">
                  <a16:creationId xmlns="" xmlns:a16="http://schemas.microsoft.com/office/drawing/2014/main" id="{803AB589-DF65-4D4C-BF85-01A9135B2FB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57663" y="4603750"/>
              <a:ext cx="101600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8" name="Rectangle 13">
              <a:extLst>
                <a:ext uri="{FF2B5EF4-FFF2-40B4-BE49-F238E27FC236}">
                  <a16:creationId xmlns="" xmlns:a16="http://schemas.microsoft.com/office/drawing/2014/main" id="{9BF363EC-75AB-4117-9CAE-E3ADECCDE9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11651" y="4603750"/>
              <a:ext cx="103188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19" name="Rectangle 14">
              <a:extLst>
                <a:ext uri="{FF2B5EF4-FFF2-40B4-BE49-F238E27FC236}">
                  <a16:creationId xmlns="" xmlns:a16="http://schemas.microsoft.com/office/drawing/2014/main" id="{D8809B8C-089E-48E1-9EBD-7BC3C7AEF1D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86276" y="4603750"/>
              <a:ext cx="103188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0" name="Rectangle 15">
              <a:extLst>
                <a:ext uri="{FF2B5EF4-FFF2-40B4-BE49-F238E27FC236}">
                  <a16:creationId xmlns="" xmlns:a16="http://schemas.microsoft.com/office/drawing/2014/main" id="{3FF5DFD5-840B-4E5F-8C73-7EB3EC6B97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641851" y="4603750"/>
              <a:ext cx="104775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1" name="Rectangle 16">
              <a:extLst>
                <a:ext uri="{FF2B5EF4-FFF2-40B4-BE49-F238E27FC236}">
                  <a16:creationId xmlns="" xmlns:a16="http://schemas.microsoft.com/office/drawing/2014/main" id="{EC62542D-BCE5-486B-B6E6-200D5EFCAC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816476" y="4603750"/>
              <a:ext cx="106363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2" name="Rectangle 17">
              <a:extLst>
                <a:ext uri="{FF2B5EF4-FFF2-40B4-BE49-F238E27FC236}">
                  <a16:creationId xmlns="" xmlns:a16="http://schemas.microsoft.com/office/drawing/2014/main" id="{E82500EE-9823-4CEF-859B-D8DC407E81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72051" y="4603750"/>
              <a:ext cx="104775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3" name="Rectangle 18">
              <a:extLst>
                <a:ext uri="{FF2B5EF4-FFF2-40B4-BE49-F238E27FC236}">
                  <a16:creationId xmlns="" xmlns:a16="http://schemas.microsoft.com/office/drawing/2014/main" id="{F0F9CE3E-F14D-4452-B685-2FF2BE6BA25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46676" y="4603750"/>
              <a:ext cx="104775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4" name="Rectangle 19">
              <a:extLst>
                <a:ext uri="{FF2B5EF4-FFF2-40B4-BE49-F238E27FC236}">
                  <a16:creationId xmlns="" xmlns:a16="http://schemas.microsoft.com/office/drawing/2014/main" id="{CE1EAC15-F2D9-4C5F-84A4-C1F11C00451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00663" y="4603750"/>
              <a:ext cx="106363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5" name="Rectangle 20">
              <a:extLst>
                <a:ext uri="{FF2B5EF4-FFF2-40B4-BE49-F238E27FC236}">
                  <a16:creationId xmlns="" xmlns:a16="http://schemas.microsoft.com/office/drawing/2014/main" id="{E11E83D9-C7E0-4965-94E0-DCEB5433A5F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75288" y="4603750"/>
              <a:ext cx="106363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6" name="Rectangle 21">
              <a:extLst>
                <a:ext uri="{FF2B5EF4-FFF2-40B4-BE49-F238E27FC236}">
                  <a16:creationId xmlns="" xmlns:a16="http://schemas.microsoft.com/office/drawing/2014/main" id="{4F1B0E27-4491-428D-BE12-FFE5F6F298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34038" y="4603750"/>
              <a:ext cx="103188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7" name="Rectangle 22">
              <a:extLst>
                <a:ext uri="{FF2B5EF4-FFF2-40B4-BE49-F238E27FC236}">
                  <a16:creationId xmlns="" xmlns:a16="http://schemas.microsoft.com/office/drawing/2014/main" id="{98862316-D4FF-4F42-A7E2-73851501B4E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808663" y="4603750"/>
              <a:ext cx="103188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8" name="Rectangle 23">
              <a:extLst>
                <a:ext uri="{FF2B5EF4-FFF2-40B4-BE49-F238E27FC236}">
                  <a16:creationId xmlns="" xmlns:a16="http://schemas.microsoft.com/office/drawing/2014/main" id="{BB0F17B9-4429-4820-9DBF-2CC9F788CF3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964238" y="4603750"/>
              <a:ext cx="101600" cy="146050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29" name="Freeform 24">
              <a:extLst>
                <a:ext uri="{FF2B5EF4-FFF2-40B4-BE49-F238E27FC236}">
                  <a16:creationId xmlns="" xmlns:a16="http://schemas.microsoft.com/office/drawing/2014/main" id="{B1BE54D1-C78E-4F88-A609-F2FF4BFD12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69551" y="2533650"/>
              <a:ext cx="661988" cy="777875"/>
            </a:xfrm>
            <a:custGeom>
              <a:avLst/>
              <a:gdLst>
                <a:gd name="T0" fmla="*/ 201 w 201"/>
                <a:gd name="T1" fmla="*/ 43 h 236"/>
                <a:gd name="T2" fmla="*/ 160 w 201"/>
                <a:gd name="T3" fmla="*/ 86 h 236"/>
                <a:gd name="T4" fmla="*/ 148 w 201"/>
                <a:gd name="T5" fmla="*/ 87 h 236"/>
                <a:gd name="T6" fmla="*/ 154 w 201"/>
                <a:gd name="T7" fmla="*/ 98 h 236"/>
                <a:gd name="T8" fmla="*/ 161 w 201"/>
                <a:gd name="T9" fmla="*/ 125 h 236"/>
                <a:gd name="T10" fmla="*/ 113 w 201"/>
                <a:gd name="T11" fmla="*/ 181 h 236"/>
                <a:gd name="T12" fmla="*/ 106 w 201"/>
                <a:gd name="T13" fmla="*/ 182 h 236"/>
                <a:gd name="T14" fmla="*/ 106 w 201"/>
                <a:gd name="T15" fmla="*/ 188 h 236"/>
                <a:gd name="T16" fmla="*/ 53 w 201"/>
                <a:gd name="T17" fmla="*/ 236 h 236"/>
                <a:gd name="T18" fmla="*/ 0 w 201"/>
                <a:gd name="T19" fmla="*/ 183 h 236"/>
                <a:gd name="T20" fmla="*/ 41 w 201"/>
                <a:gd name="T21" fmla="*/ 131 h 236"/>
                <a:gd name="T22" fmla="*/ 47 w 201"/>
                <a:gd name="T23" fmla="*/ 129 h 236"/>
                <a:gd name="T24" fmla="*/ 47 w 201"/>
                <a:gd name="T25" fmla="*/ 123 h 236"/>
                <a:gd name="T26" fmla="*/ 49 w 201"/>
                <a:gd name="T27" fmla="*/ 110 h 236"/>
                <a:gd name="T28" fmla="*/ 50 w 201"/>
                <a:gd name="T29" fmla="*/ 107 h 236"/>
                <a:gd name="T30" fmla="*/ 48 w 201"/>
                <a:gd name="T31" fmla="*/ 104 h 236"/>
                <a:gd name="T32" fmla="*/ 41 w 201"/>
                <a:gd name="T33" fmla="*/ 77 h 236"/>
                <a:gd name="T34" fmla="*/ 90 w 201"/>
                <a:gd name="T35" fmla="*/ 27 h 236"/>
                <a:gd name="T36" fmla="*/ 108 w 201"/>
                <a:gd name="T37" fmla="*/ 31 h 236"/>
                <a:gd name="T38" fmla="*/ 116 w 201"/>
                <a:gd name="T39" fmla="*/ 34 h 236"/>
                <a:gd name="T40" fmla="*/ 119 w 201"/>
                <a:gd name="T41" fmla="*/ 26 h 236"/>
                <a:gd name="T42" fmla="*/ 158 w 201"/>
                <a:gd name="T43" fmla="*/ 0 h 236"/>
                <a:gd name="T44" fmla="*/ 201 w 201"/>
                <a:gd name="T45" fmla="*/ 43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1" h="236">
                  <a:moveTo>
                    <a:pt x="201" y="43"/>
                  </a:moveTo>
                  <a:cubicBezTo>
                    <a:pt x="201" y="66"/>
                    <a:pt x="183" y="85"/>
                    <a:pt x="160" y="86"/>
                  </a:cubicBezTo>
                  <a:cubicBezTo>
                    <a:pt x="148" y="87"/>
                    <a:pt x="148" y="87"/>
                    <a:pt x="148" y="87"/>
                  </a:cubicBezTo>
                  <a:cubicBezTo>
                    <a:pt x="154" y="98"/>
                    <a:pt x="154" y="98"/>
                    <a:pt x="154" y="98"/>
                  </a:cubicBezTo>
                  <a:cubicBezTo>
                    <a:pt x="158" y="106"/>
                    <a:pt x="161" y="115"/>
                    <a:pt x="161" y="125"/>
                  </a:cubicBezTo>
                  <a:cubicBezTo>
                    <a:pt x="161" y="153"/>
                    <a:pt x="140" y="176"/>
                    <a:pt x="113" y="181"/>
                  </a:cubicBezTo>
                  <a:cubicBezTo>
                    <a:pt x="106" y="182"/>
                    <a:pt x="106" y="182"/>
                    <a:pt x="106" y="182"/>
                  </a:cubicBezTo>
                  <a:cubicBezTo>
                    <a:pt x="106" y="188"/>
                    <a:pt x="106" y="188"/>
                    <a:pt x="106" y="188"/>
                  </a:cubicBezTo>
                  <a:cubicBezTo>
                    <a:pt x="103" y="215"/>
                    <a:pt x="80" y="236"/>
                    <a:pt x="53" y="236"/>
                  </a:cubicBezTo>
                  <a:cubicBezTo>
                    <a:pt x="24" y="236"/>
                    <a:pt x="0" y="212"/>
                    <a:pt x="0" y="183"/>
                  </a:cubicBezTo>
                  <a:cubicBezTo>
                    <a:pt x="0" y="158"/>
                    <a:pt x="17" y="136"/>
                    <a:pt x="41" y="131"/>
                  </a:cubicBezTo>
                  <a:cubicBezTo>
                    <a:pt x="47" y="129"/>
                    <a:pt x="47" y="129"/>
                    <a:pt x="47" y="129"/>
                  </a:cubicBezTo>
                  <a:cubicBezTo>
                    <a:pt x="47" y="123"/>
                    <a:pt x="47" y="123"/>
                    <a:pt x="47" y="123"/>
                  </a:cubicBezTo>
                  <a:cubicBezTo>
                    <a:pt x="48" y="119"/>
                    <a:pt x="48" y="114"/>
                    <a:pt x="49" y="110"/>
                  </a:cubicBezTo>
                  <a:cubicBezTo>
                    <a:pt x="50" y="107"/>
                    <a:pt x="50" y="107"/>
                    <a:pt x="50" y="107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3" y="96"/>
                    <a:pt x="41" y="87"/>
                    <a:pt x="41" y="77"/>
                  </a:cubicBezTo>
                  <a:cubicBezTo>
                    <a:pt x="41" y="50"/>
                    <a:pt x="63" y="27"/>
                    <a:pt x="90" y="27"/>
                  </a:cubicBezTo>
                  <a:cubicBezTo>
                    <a:pt x="96" y="27"/>
                    <a:pt x="103" y="29"/>
                    <a:pt x="108" y="31"/>
                  </a:cubicBezTo>
                  <a:cubicBezTo>
                    <a:pt x="116" y="34"/>
                    <a:pt x="116" y="34"/>
                    <a:pt x="116" y="34"/>
                  </a:cubicBezTo>
                  <a:cubicBezTo>
                    <a:pt x="119" y="26"/>
                    <a:pt x="119" y="26"/>
                    <a:pt x="119" y="26"/>
                  </a:cubicBezTo>
                  <a:cubicBezTo>
                    <a:pt x="125" y="10"/>
                    <a:pt x="141" y="0"/>
                    <a:pt x="158" y="0"/>
                  </a:cubicBezTo>
                  <a:cubicBezTo>
                    <a:pt x="182" y="0"/>
                    <a:pt x="201" y="19"/>
                    <a:pt x="201" y="43"/>
                  </a:cubicBezTo>
                  <a:close/>
                </a:path>
              </a:pathLst>
            </a:custGeom>
            <a:grpFill/>
            <a:ln w="26988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30" name="Freeform 25">
              <a:extLst>
                <a:ext uri="{FF2B5EF4-FFF2-40B4-BE49-F238E27FC236}">
                  <a16:creationId xmlns="" xmlns:a16="http://schemas.microsoft.com/office/drawing/2014/main" id="{153DC85E-1740-4BA5-8EC9-E529E5DEC6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345363" y="1584325"/>
              <a:ext cx="1598613" cy="1150938"/>
            </a:xfrm>
            <a:custGeom>
              <a:avLst/>
              <a:gdLst>
                <a:gd name="T0" fmla="*/ 469 w 485"/>
                <a:gd name="T1" fmla="*/ 103 h 349"/>
                <a:gd name="T2" fmla="*/ 409 w 485"/>
                <a:gd name="T3" fmla="*/ 105 h 349"/>
                <a:gd name="T4" fmla="*/ 396 w 485"/>
                <a:gd name="T5" fmla="*/ 109 h 349"/>
                <a:gd name="T6" fmla="*/ 375 w 485"/>
                <a:gd name="T7" fmla="*/ 140 h 349"/>
                <a:gd name="T8" fmla="*/ 371 w 485"/>
                <a:gd name="T9" fmla="*/ 148 h 349"/>
                <a:gd name="T10" fmla="*/ 330 w 485"/>
                <a:gd name="T11" fmla="*/ 202 h 349"/>
                <a:gd name="T12" fmla="*/ 306 w 485"/>
                <a:gd name="T13" fmla="*/ 196 h 349"/>
                <a:gd name="T14" fmla="*/ 306 w 485"/>
                <a:gd name="T15" fmla="*/ 237 h 349"/>
                <a:gd name="T16" fmla="*/ 242 w 485"/>
                <a:gd name="T17" fmla="*/ 274 h 349"/>
                <a:gd name="T18" fmla="*/ 234 w 485"/>
                <a:gd name="T19" fmla="*/ 279 h 349"/>
                <a:gd name="T20" fmla="*/ 168 w 485"/>
                <a:gd name="T21" fmla="*/ 307 h 349"/>
                <a:gd name="T22" fmla="*/ 133 w 485"/>
                <a:gd name="T23" fmla="*/ 270 h 349"/>
                <a:gd name="T24" fmla="*/ 127 w 485"/>
                <a:gd name="T25" fmla="*/ 269 h 349"/>
                <a:gd name="T26" fmla="*/ 117 w 485"/>
                <a:gd name="T27" fmla="*/ 274 h 349"/>
                <a:gd name="T28" fmla="*/ 95 w 485"/>
                <a:gd name="T29" fmla="*/ 298 h 349"/>
                <a:gd name="T30" fmla="*/ 59 w 485"/>
                <a:gd name="T31" fmla="*/ 327 h 349"/>
                <a:gd name="T32" fmla="*/ 39 w 485"/>
                <a:gd name="T33" fmla="*/ 323 h 349"/>
                <a:gd name="T34" fmla="*/ 37 w 485"/>
                <a:gd name="T35" fmla="*/ 336 h 349"/>
                <a:gd name="T36" fmla="*/ 19 w 485"/>
                <a:gd name="T37" fmla="*/ 349 h 349"/>
                <a:gd name="T38" fmla="*/ 2 w 485"/>
                <a:gd name="T39" fmla="*/ 338 h 349"/>
                <a:gd name="T40" fmla="*/ 17 w 485"/>
                <a:gd name="T41" fmla="*/ 311 h 349"/>
                <a:gd name="T42" fmla="*/ 24 w 485"/>
                <a:gd name="T43" fmla="*/ 301 h 349"/>
                <a:gd name="T44" fmla="*/ 24 w 485"/>
                <a:gd name="T45" fmla="*/ 281 h 349"/>
                <a:gd name="T46" fmla="*/ 18 w 485"/>
                <a:gd name="T47" fmla="*/ 235 h 349"/>
                <a:gd name="T48" fmla="*/ 74 w 485"/>
                <a:gd name="T49" fmla="*/ 199 h 349"/>
                <a:gd name="T50" fmla="*/ 82 w 485"/>
                <a:gd name="T51" fmla="*/ 194 h 349"/>
                <a:gd name="T52" fmla="*/ 90 w 485"/>
                <a:gd name="T53" fmla="*/ 179 h 349"/>
                <a:gd name="T54" fmla="*/ 91 w 485"/>
                <a:gd name="T55" fmla="*/ 148 h 349"/>
                <a:gd name="T56" fmla="*/ 154 w 485"/>
                <a:gd name="T57" fmla="*/ 117 h 349"/>
                <a:gd name="T58" fmla="*/ 176 w 485"/>
                <a:gd name="T59" fmla="*/ 131 h 349"/>
                <a:gd name="T60" fmla="*/ 206 w 485"/>
                <a:gd name="T61" fmla="*/ 111 h 349"/>
                <a:gd name="T62" fmla="*/ 212 w 485"/>
                <a:gd name="T63" fmla="*/ 103 h 349"/>
                <a:gd name="T64" fmla="*/ 265 w 485"/>
                <a:gd name="T65" fmla="*/ 46 h 349"/>
                <a:gd name="T66" fmla="*/ 298 w 485"/>
                <a:gd name="T67" fmla="*/ 57 h 349"/>
                <a:gd name="T68" fmla="*/ 313 w 485"/>
                <a:gd name="T69" fmla="*/ 45 h 349"/>
                <a:gd name="T70" fmla="*/ 317 w 485"/>
                <a:gd name="T71" fmla="*/ 40 h 349"/>
                <a:gd name="T72" fmla="*/ 366 w 485"/>
                <a:gd name="T73" fmla="*/ 0 h 349"/>
                <a:gd name="T74" fmla="*/ 411 w 485"/>
                <a:gd name="T75" fmla="*/ 30 h 349"/>
                <a:gd name="T76" fmla="*/ 421 w 485"/>
                <a:gd name="T77" fmla="*/ 34 h 349"/>
                <a:gd name="T78" fmla="*/ 468 w 485"/>
                <a:gd name="T79" fmla="*/ 42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85" h="349">
                  <a:moveTo>
                    <a:pt x="468" y="42"/>
                  </a:moveTo>
                  <a:cubicBezTo>
                    <a:pt x="485" y="59"/>
                    <a:pt x="485" y="86"/>
                    <a:pt x="469" y="103"/>
                  </a:cubicBezTo>
                  <a:cubicBezTo>
                    <a:pt x="461" y="112"/>
                    <a:pt x="450" y="116"/>
                    <a:pt x="438" y="116"/>
                  </a:cubicBezTo>
                  <a:cubicBezTo>
                    <a:pt x="427" y="116"/>
                    <a:pt x="417" y="112"/>
                    <a:pt x="409" y="105"/>
                  </a:cubicBezTo>
                  <a:cubicBezTo>
                    <a:pt x="400" y="97"/>
                    <a:pt x="400" y="97"/>
                    <a:pt x="400" y="97"/>
                  </a:cubicBezTo>
                  <a:cubicBezTo>
                    <a:pt x="396" y="109"/>
                    <a:pt x="396" y="109"/>
                    <a:pt x="396" y="109"/>
                  </a:cubicBezTo>
                  <a:cubicBezTo>
                    <a:pt x="394" y="118"/>
                    <a:pt x="389" y="126"/>
                    <a:pt x="383" y="133"/>
                  </a:cubicBezTo>
                  <a:cubicBezTo>
                    <a:pt x="380" y="136"/>
                    <a:pt x="378" y="138"/>
                    <a:pt x="375" y="140"/>
                  </a:cubicBezTo>
                  <a:cubicBezTo>
                    <a:pt x="370" y="143"/>
                    <a:pt x="370" y="143"/>
                    <a:pt x="370" y="143"/>
                  </a:cubicBezTo>
                  <a:cubicBezTo>
                    <a:pt x="371" y="148"/>
                    <a:pt x="371" y="148"/>
                    <a:pt x="371" y="148"/>
                  </a:cubicBezTo>
                  <a:cubicBezTo>
                    <a:pt x="373" y="156"/>
                    <a:pt x="373" y="165"/>
                    <a:pt x="370" y="172"/>
                  </a:cubicBezTo>
                  <a:cubicBezTo>
                    <a:pt x="365" y="190"/>
                    <a:pt x="348" y="202"/>
                    <a:pt x="330" y="202"/>
                  </a:cubicBezTo>
                  <a:cubicBezTo>
                    <a:pt x="326" y="202"/>
                    <a:pt x="322" y="201"/>
                    <a:pt x="318" y="200"/>
                  </a:cubicBezTo>
                  <a:cubicBezTo>
                    <a:pt x="306" y="196"/>
                    <a:pt x="306" y="196"/>
                    <a:pt x="306" y="196"/>
                  </a:cubicBezTo>
                  <a:cubicBezTo>
                    <a:pt x="308" y="209"/>
                    <a:pt x="308" y="209"/>
                    <a:pt x="308" y="209"/>
                  </a:cubicBezTo>
                  <a:cubicBezTo>
                    <a:pt x="309" y="218"/>
                    <a:pt x="309" y="228"/>
                    <a:pt x="306" y="237"/>
                  </a:cubicBezTo>
                  <a:cubicBezTo>
                    <a:pt x="298" y="260"/>
                    <a:pt x="276" y="275"/>
                    <a:pt x="252" y="275"/>
                  </a:cubicBezTo>
                  <a:cubicBezTo>
                    <a:pt x="249" y="275"/>
                    <a:pt x="246" y="275"/>
                    <a:pt x="242" y="274"/>
                  </a:cubicBezTo>
                  <a:cubicBezTo>
                    <a:pt x="236" y="273"/>
                    <a:pt x="236" y="273"/>
                    <a:pt x="236" y="273"/>
                  </a:cubicBezTo>
                  <a:cubicBezTo>
                    <a:pt x="234" y="279"/>
                    <a:pt x="234" y="279"/>
                    <a:pt x="234" y="279"/>
                  </a:cubicBezTo>
                  <a:cubicBezTo>
                    <a:pt x="225" y="298"/>
                    <a:pt x="206" y="310"/>
                    <a:pt x="185" y="310"/>
                  </a:cubicBezTo>
                  <a:cubicBezTo>
                    <a:pt x="179" y="310"/>
                    <a:pt x="174" y="309"/>
                    <a:pt x="168" y="307"/>
                  </a:cubicBezTo>
                  <a:cubicBezTo>
                    <a:pt x="153" y="302"/>
                    <a:pt x="141" y="290"/>
                    <a:pt x="135" y="275"/>
                  </a:cubicBezTo>
                  <a:cubicBezTo>
                    <a:pt x="133" y="270"/>
                    <a:pt x="133" y="270"/>
                    <a:pt x="133" y="270"/>
                  </a:cubicBezTo>
                  <a:cubicBezTo>
                    <a:pt x="129" y="269"/>
                    <a:pt x="129" y="269"/>
                    <a:pt x="129" y="269"/>
                  </a:cubicBezTo>
                  <a:cubicBezTo>
                    <a:pt x="128" y="269"/>
                    <a:pt x="127" y="269"/>
                    <a:pt x="127" y="269"/>
                  </a:cubicBezTo>
                  <a:cubicBezTo>
                    <a:pt x="120" y="268"/>
                    <a:pt x="120" y="268"/>
                    <a:pt x="120" y="268"/>
                  </a:cubicBezTo>
                  <a:cubicBezTo>
                    <a:pt x="117" y="274"/>
                    <a:pt x="117" y="274"/>
                    <a:pt x="117" y="274"/>
                  </a:cubicBezTo>
                  <a:cubicBezTo>
                    <a:pt x="113" y="283"/>
                    <a:pt x="106" y="291"/>
                    <a:pt x="97" y="296"/>
                  </a:cubicBezTo>
                  <a:cubicBezTo>
                    <a:pt x="95" y="298"/>
                    <a:pt x="95" y="298"/>
                    <a:pt x="95" y="298"/>
                  </a:cubicBezTo>
                  <a:cubicBezTo>
                    <a:pt x="93" y="302"/>
                    <a:pt x="93" y="302"/>
                    <a:pt x="93" y="302"/>
                  </a:cubicBezTo>
                  <a:cubicBezTo>
                    <a:pt x="88" y="317"/>
                    <a:pt x="75" y="327"/>
                    <a:pt x="59" y="327"/>
                  </a:cubicBezTo>
                  <a:cubicBezTo>
                    <a:pt x="55" y="327"/>
                    <a:pt x="52" y="326"/>
                    <a:pt x="48" y="325"/>
                  </a:cubicBezTo>
                  <a:cubicBezTo>
                    <a:pt x="39" y="323"/>
                    <a:pt x="39" y="323"/>
                    <a:pt x="39" y="323"/>
                  </a:cubicBezTo>
                  <a:cubicBezTo>
                    <a:pt x="38" y="332"/>
                    <a:pt x="38" y="332"/>
                    <a:pt x="38" y="332"/>
                  </a:cubicBezTo>
                  <a:cubicBezTo>
                    <a:pt x="38" y="333"/>
                    <a:pt x="38" y="335"/>
                    <a:pt x="37" y="336"/>
                  </a:cubicBezTo>
                  <a:cubicBezTo>
                    <a:pt x="36" y="340"/>
                    <a:pt x="33" y="343"/>
                    <a:pt x="30" y="345"/>
                  </a:cubicBezTo>
                  <a:cubicBezTo>
                    <a:pt x="27" y="347"/>
                    <a:pt x="23" y="349"/>
                    <a:pt x="19" y="349"/>
                  </a:cubicBezTo>
                  <a:cubicBezTo>
                    <a:pt x="17" y="349"/>
                    <a:pt x="15" y="348"/>
                    <a:pt x="13" y="348"/>
                  </a:cubicBezTo>
                  <a:cubicBezTo>
                    <a:pt x="9" y="346"/>
                    <a:pt x="5" y="343"/>
                    <a:pt x="2" y="338"/>
                  </a:cubicBezTo>
                  <a:cubicBezTo>
                    <a:pt x="0" y="334"/>
                    <a:pt x="0" y="328"/>
                    <a:pt x="1" y="324"/>
                  </a:cubicBezTo>
                  <a:cubicBezTo>
                    <a:pt x="4" y="317"/>
                    <a:pt x="10" y="312"/>
                    <a:pt x="17" y="311"/>
                  </a:cubicBezTo>
                  <a:cubicBezTo>
                    <a:pt x="27" y="310"/>
                    <a:pt x="27" y="310"/>
                    <a:pt x="27" y="310"/>
                  </a:cubicBezTo>
                  <a:cubicBezTo>
                    <a:pt x="24" y="301"/>
                    <a:pt x="24" y="301"/>
                    <a:pt x="24" y="301"/>
                  </a:cubicBezTo>
                  <a:cubicBezTo>
                    <a:pt x="22" y="295"/>
                    <a:pt x="22" y="289"/>
                    <a:pt x="23" y="284"/>
                  </a:cubicBezTo>
                  <a:cubicBezTo>
                    <a:pt x="24" y="281"/>
                    <a:pt x="24" y="281"/>
                    <a:pt x="24" y="281"/>
                  </a:cubicBezTo>
                  <a:cubicBezTo>
                    <a:pt x="22" y="278"/>
                    <a:pt x="22" y="278"/>
                    <a:pt x="22" y="278"/>
                  </a:cubicBezTo>
                  <a:cubicBezTo>
                    <a:pt x="15" y="265"/>
                    <a:pt x="13" y="249"/>
                    <a:pt x="18" y="235"/>
                  </a:cubicBezTo>
                  <a:cubicBezTo>
                    <a:pt x="25" y="213"/>
                    <a:pt x="46" y="198"/>
                    <a:pt x="68" y="198"/>
                  </a:cubicBezTo>
                  <a:cubicBezTo>
                    <a:pt x="70" y="198"/>
                    <a:pt x="72" y="199"/>
                    <a:pt x="74" y="199"/>
                  </a:cubicBezTo>
                  <a:cubicBezTo>
                    <a:pt x="80" y="199"/>
                    <a:pt x="80" y="199"/>
                    <a:pt x="80" y="199"/>
                  </a:cubicBezTo>
                  <a:cubicBezTo>
                    <a:pt x="82" y="194"/>
                    <a:pt x="82" y="194"/>
                    <a:pt x="82" y="194"/>
                  </a:cubicBezTo>
                  <a:cubicBezTo>
                    <a:pt x="84" y="190"/>
                    <a:pt x="86" y="186"/>
                    <a:pt x="88" y="182"/>
                  </a:cubicBezTo>
                  <a:cubicBezTo>
                    <a:pt x="90" y="179"/>
                    <a:pt x="90" y="179"/>
                    <a:pt x="90" y="179"/>
                  </a:cubicBezTo>
                  <a:cubicBezTo>
                    <a:pt x="89" y="176"/>
                    <a:pt x="89" y="176"/>
                    <a:pt x="89" y="176"/>
                  </a:cubicBezTo>
                  <a:cubicBezTo>
                    <a:pt x="87" y="166"/>
                    <a:pt x="88" y="157"/>
                    <a:pt x="91" y="148"/>
                  </a:cubicBezTo>
                  <a:cubicBezTo>
                    <a:pt x="97" y="128"/>
                    <a:pt x="116" y="114"/>
                    <a:pt x="138" y="114"/>
                  </a:cubicBezTo>
                  <a:cubicBezTo>
                    <a:pt x="143" y="114"/>
                    <a:pt x="149" y="115"/>
                    <a:pt x="154" y="117"/>
                  </a:cubicBezTo>
                  <a:cubicBezTo>
                    <a:pt x="160" y="119"/>
                    <a:pt x="165" y="122"/>
                    <a:pt x="170" y="126"/>
                  </a:cubicBezTo>
                  <a:cubicBezTo>
                    <a:pt x="176" y="131"/>
                    <a:pt x="176" y="131"/>
                    <a:pt x="176" y="131"/>
                  </a:cubicBezTo>
                  <a:cubicBezTo>
                    <a:pt x="181" y="125"/>
                    <a:pt x="181" y="125"/>
                    <a:pt x="181" y="125"/>
                  </a:cubicBezTo>
                  <a:cubicBezTo>
                    <a:pt x="187" y="118"/>
                    <a:pt x="196" y="113"/>
                    <a:pt x="206" y="111"/>
                  </a:cubicBezTo>
                  <a:cubicBezTo>
                    <a:pt x="213" y="110"/>
                    <a:pt x="213" y="110"/>
                    <a:pt x="213" y="110"/>
                  </a:cubicBezTo>
                  <a:cubicBezTo>
                    <a:pt x="212" y="103"/>
                    <a:pt x="212" y="103"/>
                    <a:pt x="212" y="103"/>
                  </a:cubicBezTo>
                  <a:cubicBezTo>
                    <a:pt x="211" y="88"/>
                    <a:pt x="217" y="73"/>
                    <a:pt x="227" y="62"/>
                  </a:cubicBezTo>
                  <a:cubicBezTo>
                    <a:pt x="237" y="52"/>
                    <a:pt x="251" y="46"/>
                    <a:pt x="265" y="46"/>
                  </a:cubicBezTo>
                  <a:cubicBezTo>
                    <a:pt x="275" y="46"/>
                    <a:pt x="285" y="49"/>
                    <a:pt x="293" y="54"/>
                  </a:cubicBezTo>
                  <a:cubicBezTo>
                    <a:pt x="298" y="57"/>
                    <a:pt x="298" y="57"/>
                    <a:pt x="298" y="57"/>
                  </a:cubicBezTo>
                  <a:cubicBezTo>
                    <a:pt x="303" y="53"/>
                    <a:pt x="303" y="53"/>
                    <a:pt x="303" y="53"/>
                  </a:cubicBezTo>
                  <a:cubicBezTo>
                    <a:pt x="306" y="50"/>
                    <a:pt x="309" y="47"/>
                    <a:pt x="313" y="45"/>
                  </a:cubicBezTo>
                  <a:cubicBezTo>
                    <a:pt x="316" y="43"/>
                    <a:pt x="316" y="43"/>
                    <a:pt x="316" y="43"/>
                  </a:cubicBezTo>
                  <a:cubicBezTo>
                    <a:pt x="317" y="40"/>
                    <a:pt x="317" y="40"/>
                    <a:pt x="317" y="40"/>
                  </a:cubicBezTo>
                  <a:cubicBezTo>
                    <a:pt x="319" y="31"/>
                    <a:pt x="323" y="22"/>
                    <a:pt x="330" y="15"/>
                  </a:cubicBezTo>
                  <a:cubicBezTo>
                    <a:pt x="339" y="6"/>
                    <a:pt x="352" y="0"/>
                    <a:pt x="366" y="0"/>
                  </a:cubicBezTo>
                  <a:cubicBezTo>
                    <a:pt x="379" y="0"/>
                    <a:pt x="391" y="5"/>
                    <a:pt x="400" y="14"/>
                  </a:cubicBezTo>
                  <a:cubicBezTo>
                    <a:pt x="405" y="19"/>
                    <a:pt x="408" y="24"/>
                    <a:pt x="411" y="30"/>
                  </a:cubicBezTo>
                  <a:cubicBezTo>
                    <a:pt x="414" y="37"/>
                    <a:pt x="414" y="37"/>
                    <a:pt x="414" y="37"/>
                  </a:cubicBezTo>
                  <a:cubicBezTo>
                    <a:pt x="421" y="34"/>
                    <a:pt x="421" y="34"/>
                    <a:pt x="421" y="34"/>
                  </a:cubicBezTo>
                  <a:cubicBezTo>
                    <a:pt x="427" y="31"/>
                    <a:pt x="432" y="30"/>
                    <a:pt x="438" y="30"/>
                  </a:cubicBezTo>
                  <a:cubicBezTo>
                    <a:pt x="449" y="30"/>
                    <a:pt x="460" y="35"/>
                    <a:pt x="468" y="42"/>
                  </a:cubicBezTo>
                  <a:close/>
                </a:path>
              </a:pathLst>
            </a:custGeom>
            <a:grpFill/>
            <a:ln w="26988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31" name="Rectangle 26">
              <a:extLst>
                <a:ext uri="{FF2B5EF4-FFF2-40B4-BE49-F238E27FC236}">
                  <a16:creationId xmlns="" xmlns:a16="http://schemas.microsoft.com/office/drawing/2014/main" id="{941D8F2F-4722-416D-805E-5153EED3EFB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892301" y="4478338"/>
              <a:ext cx="101600" cy="339725"/>
            </a:xfrm>
            <a:prstGeom prst="rect">
              <a:avLst/>
            </a:pr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  <p:sp>
          <p:nvSpPr>
            <p:cNvPr id="32" name="Freeform 27">
              <a:extLst>
                <a:ext uri="{FF2B5EF4-FFF2-40B4-BE49-F238E27FC236}">
                  <a16:creationId xmlns="" xmlns:a16="http://schemas.microsoft.com/office/drawing/2014/main" id="{E46E9D18-6CEF-4EA8-9D73-E2A74D7C5D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44538" y="2444750"/>
              <a:ext cx="10702925" cy="2822575"/>
            </a:xfrm>
            <a:custGeom>
              <a:avLst/>
              <a:gdLst>
                <a:gd name="T0" fmla="*/ 87 w 3246"/>
                <a:gd name="T1" fmla="*/ 244 h 856"/>
                <a:gd name="T2" fmla="*/ 192 w 3246"/>
                <a:gd name="T3" fmla="*/ 236 h 856"/>
                <a:gd name="T4" fmla="*/ 302 w 3246"/>
                <a:gd name="T5" fmla="*/ 527 h 856"/>
                <a:gd name="T6" fmla="*/ 859 w 3246"/>
                <a:gd name="T7" fmla="*/ 473 h 856"/>
                <a:gd name="T8" fmla="*/ 1099 w 3246"/>
                <a:gd name="T9" fmla="*/ 441 h 856"/>
                <a:gd name="T10" fmla="*/ 1116 w 3246"/>
                <a:gd name="T11" fmla="*/ 216 h 856"/>
                <a:gd name="T12" fmla="*/ 1164 w 3246"/>
                <a:gd name="T13" fmla="*/ 441 h 856"/>
                <a:gd name="T14" fmla="*/ 1312 w 3246"/>
                <a:gd name="T15" fmla="*/ 441 h 856"/>
                <a:gd name="T16" fmla="*/ 1358 w 3246"/>
                <a:gd name="T17" fmla="*/ 105 h 856"/>
                <a:gd name="T18" fmla="*/ 1378 w 3246"/>
                <a:gd name="T19" fmla="*/ 441 h 856"/>
                <a:gd name="T20" fmla="*/ 1526 w 3246"/>
                <a:gd name="T21" fmla="*/ 14 h 856"/>
                <a:gd name="T22" fmla="*/ 1568 w 3246"/>
                <a:gd name="T23" fmla="*/ 10 h 856"/>
                <a:gd name="T24" fmla="*/ 1596 w 3246"/>
                <a:gd name="T25" fmla="*/ 573 h 856"/>
                <a:gd name="T26" fmla="*/ 1828 w 3246"/>
                <a:gd name="T27" fmla="*/ 684 h 856"/>
                <a:gd name="T28" fmla="*/ 1877 w 3246"/>
                <a:gd name="T29" fmla="*/ 495 h 856"/>
                <a:gd name="T30" fmla="*/ 1876 w 3246"/>
                <a:gd name="T31" fmla="*/ 300 h 856"/>
                <a:gd name="T32" fmla="*/ 1974 w 3246"/>
                <a:gd name="T33" fmla="*/ 207 h 856"/>
                <a:gd name="T34" fmla="*/ 2071 w 3246"/>
                <a:gd name="T35" fmla="*/ 484 h 856"/>
                <a:gd name="T36" fmla="*/ 2035 w 3246"/>
                <a:gd name="T37" fmla="*/ 554 h 856"/>
                <a:gd name="T38" fmla="*/ 2220 w 3246"/>
                <a:gd name="T39" fmla="*/ 624 h 856"/>
                <a:gd name="T40" fmla="*/ 2300 w 3246"/>
                <a:gd name="T41" fmla="*/ 490 h 856"/>
                <a:gd name="T42" fmla="*/ 2432 w 3246"/>
                <a:gd name="T43" fmla="*/ 450 h 856"/>
                <a:gd name="T44" fmla="*/ 2631 w 3246"/>
                <a:gd name="T45" fmla="*/ 729 h 856"/>
                <a:gd name="T46" fmla="*/ 2872 w 3246"/>
                <a:gd name="T47" fmla="*/ 443 h 856"/>
                <a:gd name="T48" fmla="*/ 2875 w 3246"/>
                <a:gd name="T49" fmla="*/ 395 h 856"/>
                <a:gd name="T50" fmla="*/ 3036 w 3246"/>
                <a:gd name="T51" fmla="*/ 350 h 856"/>
                <a:gd name="T52" fmla="*/ 3027 w 3246"/>
                <a:gd name="T53" fmla="*/ 410 h 856"/>
                <a:gd name="T54" fmla="*/ 3236 w 3246"/>
                <a:gd name="T55" fmla="*/ 837 h 856"/>
                <a:gd name="T56" fmla="*/ 3237 w 3246"/>
                <a:gd name="T57" fmla="*/ 829 h 856"/>
                <a:gd name="T58" fmla="*/ 3036 w 3246"/>
                <a:gd name="T59" fmla="*/ 432 h 856"/>
                <a:gd name="T60" fmla="*/ 3035 w 3246"/>
                <a:gd name="T61" fmla="*/ 410 h 856"/>
                <a:gd name="T62" fmla="*/ 3035 w 3246"/>
                <a:gd name="T63" fmla="*/ 378 h 856"/>
                <a:gd name="T64" fmla="*/ 2857 w 3246"/>
                <a:gd name="T65" fmla="*/ 358 h 856"/>
                <a:gd name="T66" fmla="*/ 2867 w 3246"/>
                <a:gd name="T67" fmla="*/ 390 h 856"/>
                <a:gd name="T68" fmla="*/ 2862 w 3246"/>
                <a:gd name="T69" fmla="*/ 425 h 856"/>
                <a:gd name="T70" fmla="*/ 2741 w 3246"/>
                <a:gd name="T71" fmla="*/ 829 h 856"/>
                <a:gd name="T72" fmla="*/ 2480 w 3246"/>
                <a:gd name="T73" fmla="*/ 616 h 856"/>
                <a:gd name="T74" fmla="*/ 2385 w 3246"/>
                <a:gd name="T75" fmla="*/ 490 h 856"/>
                <a:gd name="T76" fmla="*/ 2259 w 3246"/>
                <a:gd name="T77" fmla="*/ 442 h 856"/>
                <a:gd name="T78" fmla="*/ 2158 w 3246"/>
                <a:gd name="T79" fmla="*/ 676 h 856"/>
                <a:gd name="T80" fmla="*/ 2044 w 3246"/>
                <a:gd name="T81" fmla="*/ 549 h 856"/>
                <a:gd name="T82" fmla="*/ 2069 w 3246"/>
                <a:gd name="T83" fmla="*/ 458 h 856"/>
                <a:gd name="T84" fmla="*/ 2069 w 3246"/>
                <a:gd name="T85" fmla="*/ 300 h 856"/>
                <a:gd name="T86" fmla="*/ 1957 w 3246"/>
                <a:gd name="T87" fmla="*/ 200 h 856"/>
                <a:gd name="T88" fmla="*/ 1866 w 3246"/>
                <a:gd name="T89" fmla="*/ 372 h 856"/>
                <a:gd name="T90" fmla="*/ 1868 w 3246"/>
                <a:gd name="T91" fmla="*/ 492 h 856"/>
                <a:gd name="T92" fmla="*/ 1827 w 3246"/>
                <a:gd name="T93" fmla="*/ 675 h 856"/>
                <a:gd name="T94" fmla="*/ 1694 w 3246"/>
                <a:gd name="T95" fmla="*/ 565 h 856"/>
                <a:gd name="T96" fmla="*/ 1570 w 3246"/>
                <a:gd name="T97" fmla="*/ 18 h 856"/>
                <a:gd name="T98" fmla="*/ 1515 w 3246"/>
                <a:gd name="T99" fmla="*/ 19 h 856"/>
                <a:gd name="T100" fmla="*/ 1396 w 3246"/>
                <a:gd name="T101" fmla="*/ 565 h 856"/>
                <a:gd name="T102" fmla="*/ 1368 w 3246"/>
                <a:gd name="T103" fmla="*/ 107 h 856"/>
                <a:gd name="T104" fmla="*/ 1311 w 3246"/>
                <a:gd name="T105" fmla="*/ 117 h 856"/>
                <a:gd name="T106" fmla="*/ 1187 w 3246"/>
                <a:gd name="T107" fmla="*/ 433 h 856"/>
                <a:gd name="T108" fmla="*/ 1165 w 3246"/>
                <a:gd name="T109" fmla="*/ 208 h 856"/>
                <a:gd name="T110" fmla="*/ 1111 w 3246"/>
                <a:gd name="T111" fmla="*/ 433 h 856"/>
                <a:gd name="T112" fmla="*/ 867 w 3246"/>
                <a:gd name="T113" fmla="*/ 684 h 856"/>
                <a:gd name="T114" fmla="*/ 486 w 3246"/>
                <a:gd name="T115" fmla="*/ 463 h 856"/>
                <a:gd name="T116" fmla="*/ 200 w 3246"/>
                <a:gd name="T117" fmla="*/ 236 h 856"/>
                <a:gd name="T118" fmla="*/ 62 w 3246"/>
                <a:gd name="T119" fmla="*/ 723 h 856"/>
                <a:gd name="T120" fmla="*/ 0 w 3246"/>
                <a:gd name="T121" fmla="*/ 771 h 8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46" h="856">
                  <a:moveTo>
                    <a:pt x="8" y="776"/>
                  </a:moveTo>
                  <a:cubicBezTo>
                    <a:pt x="9" y="725"/>
                    <a:pt x="9" y="725"/>
                    <a:pt x="9" y="725"/>
                  </a:cubicBezTo>
                  <a:cubicBezTo>
                    <a:pt x="16" y="726"/>
                    <a:pt x="33" y="728"/>
                    <a:pt x="65" y="731"/>
                  </a:cubicBezTo>
                  <a:cubicBezTo>
                    <a:pt x="69" y="732"/>
                    <a:pt x="69" y="732"/>
                    <a:pt x="69" y="732"/>
                  </a:cubicBezTo>
                  <a:cubicBezTo>
                    <a:pt x="87" y="244"/>
                    <a:pt x="87" y="244"/>
                    <a:pt x="87" y="244"/>
                  </a:cubicBezTo>
                  <a:cubicBezTo>
                    <a:pt x="80" y="244"/>
                    <a:pt x="80" y="244"/>
                    <a:pt x="80" y="244"/>
                  </a:cubicBezTo>
                  <a:cubicBezTo>
                    <a:pt x="76" y="244"/>
                    <a:pt x="73" y="240"/>
                    <a:pt x="73" y="236"/>
                  </a:cubicBezTo>
                  <a:cubicBezTo>
                    <a:pt x="73" y="232"/>
                    <a:pt x="76" y="229"/>
                    <a:pt x="80" y="229"/>
                  </a:cubicBezTo>
                  <a:cubicBezTo>
                    <a:pt x="184" y="229"/>
                    <a:pt x="184" y="229"/>
                    <a:pt x="184" y="229"/>
                  </a:cubicBezTo>
                  <a:cubicBezTo>
                    <a:pt x="188" y="229"/>
                    <a:pt x="192" y="232"/>
                    <a:pt x="192" y="236"/>
                  </a:cubicBezTo>
                  <a:cubicBezTo>
                    <a:pt x="192" y="240"/>
                    <a:pt x="188" y="244"/>
                    <a:pt x="184" y="244"/>
                  </a:cubicBezTo>
                  <a:cubicBezTo>
                    <a:pt x="176" y="244"/>
                    <a:pt x="176" y="244"/>
                    <a:pt x="176" y="244"/>
                  </a:cubicBezTo>
                  <a:cubicBezTo>
                    <a:pt x="191" y="692"/>
                    <a:pt x="191" y="692"/>
                    <a:pt x="191" y="692"/>
                  </a:cubicBezTo>
                  <a:cubicBezTo>
                    <a:pt x="302" y="692"/>
                    <a:pt x="302" y="692"/>
                    <a:pt x="302" y="692"/>
                  </a:cubicBezTo>
                  <a:cubicBezTo>
                    <a:pt x="302" y="527"/>
                    <a:pt x="302" y="527"/>
                    <a:pt x="302" y="527"/>
                  </a:cubicBezTo>
                  <a:cubicBezTo>
                    <a:pt x="478" y="473"/>
                    <a:pt x="478" y="473"/>
                    <a:pt x="478" y="473"/>
                  </a:cubicBezTo>
                  <a:cubicBezTo>
                    <a:pt x="478" y="531"/>
                    <a:pt x="478" y="531"/>
                    <a:pt x="478" y="531"/>
                  </a:cubicBezTo>
                  <a:cubicBezTo>
                    <a:pt x="669" y="473"/>
                    <a:pt x="669" y="473"/>
                    <a:pt x="669" y="473"/>
                  </a:cubicBezTo>
                  <a:cubicBezTo>
                    <a:pt x="669" y="531"/>
                    <a:pt x="669" y="531"/>
                    <a:pt x="669" y="531"/>
                  </a:cubicBezTo>
                  <a:cubicBezTo>
                    <a:pt x="859" y="473"/>
                    <a:pt x="859" y="473"/>
                    <a:pt x="859" y="473"/>
                  </a:cubicBezTo>
                  <a:cubicBezTo>
                    <a:pt x="859" y="692"/>
                    <a:pt x="859" y="692"/>
                    <a:pt x="859" y="692"/>
                  </a:cubicBezTo>
                  <a:cubicBezTo>
                    <a:pt x="981" y="698"/>
                    <a:pt x="981" y="698"/>
                    <a:pt x="981" y="698"/>
                  </a:cubicBezTo>
                  <a:cubicBezTo>
                    <a:pt x="981" y="573"/>
                    <a:pt x="981" y="573"/>
                    <a:pt x="981" y="573"/>
                  </a:cubicBezTo>
                  <a:cubicBezTo>
                    <a:pt x="1085" y="573"/>
                    <a:pt x="1085" y="573"/>
                    <a:pt x="1085" y="573"/>
                  </a:cubicBezTo>
                  <a:cubicBezTo>
                    <a:pt x="1099" y="441"/>
                    <a:pt x="1099" y="441"/>
                    <a:pt x="1099" y="441"/>
                  </a:cubicBezTo>
                  <a:cubicBezTo>
                    <a:pt x="1118" y="441"/>
                    <a:pt x="1118" y="441"/>
                    <a:pt x="1118" y="441"/>
                  </a:cubicBezTo>
                  <a:cubicBezTo>
                    <a:pt x="1125" y="222"/>
                    <a:pt x="1125" y="222"/>
                    <a:pt x="1125" y="222"/>
                  </a:cubicBezTo>
                  <a:cubicBezTo>
                    <a:pt x="1116" y="220"/>
                    <a:pt x="1116" y="220"/>
                    <a:pt x="1116" y="220"/>
                  </a:cubicBezTo>
                  <a:cubicBezTo>
                    <a:pt x="1115" y="219"/>
                    <a:pt x="1115" y="219"/>
                    <a:pt x="1115" y="218"/>
                  </a:cubicBezTo>
                  <a:cubicBezTo>
                    <a:pt x="1115" y="217"/>
                    <a:pt x="1115" y="216"/>
                    <a:pt x="1116" y="216"/>
                  </a:cubicBezTo>
                  <a:cubicBezTo>
                    <a:pt x="1165" y="216"/>
                    <a:pt x="1165" y="216"/>
                    <a:pt x="1165" y="216"/>
                  </a:cubicBezTo>
                  <a:cubicBezTo>
                    <a:pt x="1166" y="216"/>
                    <a:pt x="1167" y="217"/>
                    <a:pt x="1167" y="218"/>
                  </a:cubicBezTo>
                  <a:cubicBezTo>
                    <a:pt x="1167" y="219"/>
                    <a:pt x="1166" y="219"/>
                    <a:pt x="1166" y="220"/>
                  </a:cubicBezTo>
                  <a:cubicBezTo>
                    <a:pt x="1159" y="223"/>
                    <a:pt x="1159" y="223"/>
                    <a:pt x="1159" y="223"/>
                  </a:cubicBezTo>
                  <a:cubicBezTo>
                    <a:pt x="1164" y="441"/>
                    <a:pt x="1164" y="441"/>
                    <a:pt x="1164" y="441"/>
                  </a:cubicBezTo>
                  <a:cubicBezTo>
                    <a:pt x="1179" y="441"/>
                    <a:pt x="1179" y="441"/>
                    <a:pt x="1179" y="441"/>
                  </a:cubicBezTo>
                  <a:cubicBezTo>
                    <a:pt x="1190" y="573"/>
                    <a:pt x="1190" y="573"/>
                    <a:pt x="1190" y="573"/>
                  </a:cubicBezTo>
                  <a:cubicBezTo>
                    <a:pt x="1284" y="573"/>
                    <a:pt x="1284" y="573"/>
                    <a:pt x="1284" y="573"/>
                  </a:cubicBezTo>
                  <a:cubicBezTo>
                    <a:pt x="1298" y="441"/>
                    <a:pt x="1298" y="441"/>
                    <a:pt x="1298" y="441"/>
                  </a:cubicBezTo>
                  <a:cubicBezTo>
                    <a:pt x="1312" y="441"/>
                    <a:pt x="1312" y="441"/>
                    <a:pt x="1312" y="441"/>
                  </a:cubicBezTo>
                  <a:cubicBezTo>
                    <a:pt x="1319" y="110"/>
                    <a:pt x="1319" y="110"/>
                    <a:pt x="1319" y="110"/>
                  </a:cubicBezTo>
                  <a:cubicBezTo>
                    <a:pt x="1309" y="108"/>
                    <a:pt x="1309" y="108"/>
                    <a:pt x="1309" y="108"/>
                  </a:cubicBezTo>
                  <a:cubicBezTo>
                    <a:pt x="1308" y="108"/>
                    <a:pt x="1308" y="107"/>
                    <a:pt x="1308" y="107"/>
                  </a:cubicBezTo>
                  <a:cubicBezTo>
                    <a:pt x="1308" y="106"/>
                    <a:pt x="1308" y="105"/>
                    <a:pt x="1309" y="105"/>
                  </a:cubicBezTo>
                  <a:cubicBezTo>
                    <a:pt x="1358" y="105"/>
                    <a:pt x="1358" y="105"/>
                    <a:pt x="1358" y="105"/>
                  </a:cubicBezTo>
                  <a:cubicBezTo>
                    <a:pt x="1359" y="105"/>
                    <a:pt x="1360" y="106"/>
                    <a:pt x="1360" y="107"/>
                  </a:cubicBezTo>
                  <a:cubicBezTo>
                    <a:pt x="1360" y="107"/>
                    <a:pt x="1359" y="108"/>
                    <a:pt x="1359" y="108"/>
                  </a:cubicBezTo>
                  <a:cubicBezTo>
                    <a:pt x="1353" y="112"/>
                    <a:pt x="1353" y="112"/>
                    <a:pt x="1353" y="112"/>
                  </a:cubicBezTo>
                  <a:cubicBezTo>
                    <a:pt x="1359" y="441"/>
                    <a:pt x="1359" y="441"/>
                    <a:pt x="1359" y="441"/>
                  </a:cubicBezTo>
                  <a:cubicBezTo>
                    <a:pt x="1378" y="441"/>
                    <a:pt x="1378" y="441"/>
                    <a:pt x="1378" y="441"/>
                  </a:cubicBezTo>
                  <a:cubicBezTo>
                    <a:pt x="1389" y="573"/>
                    <a:pt x="1389" y="573"/>
                    <a:pt x="1389" y="573"/>
                  </a:cubicBezTo>
                  <a:cubicBezTo>
                    <a:pt x="1491" y="573"/>
                    <a:pt x="1491" y="573"/>
                    <a:pt x="1491" y="573"/>
                  </a:cubicBezTo>
                  <a:cubicBezTo>
                    <a:pt x="1504" y="441"/>
                    <a:pt x="1504" y="441"/>
                    <a:pt x="1504" y="441"/>
                  </a:cubicBezTo>
                  <a:cubicBezTo>
                    <a:pt x="1518" y="441"/>
                    <a:pt x="1518" y="441"/>
                    <a:pt x="1518" y="441"/>
                  </a:cubicBezTo>
                  <a:cubicBezTo>
                    <a:pt x="1526" y="14"/>
                    <a:pt x="1526" y="14"/>
                    <a:pt x="1526" y="14"/>
                  </a:cubicBezTo>
                  <a:cubicBezTo>
                    <a:pt x="1517" y="11"/>
                    <a:pt x="1517" y="11"/>
                    <a:pt x="1517" y="11"/>
                  </a:cubicBezTo>
                  <a:cubicBezTo>
                    <a:pt x="1517" y="11"/>
                    <a:pt x="1516" y="10"/>
                    <a:pt x="1516" y="10"/>
                  </a:cubicBezTo>
                  <a:cubicBezTo>
                    <a:pt x="1516" y="9"/>
                    <a:pt x="1517" y="8"/>
                    <a:pt x="1518" y="8"/>
                  </a:cubicBezTo>
                  <a:cubicBezTo>
                    <a:pt x="1566" y="8"/>
                    <a:pt x="1566" y="8"/>
                    <a:pt x="1566" y="8"/>
                  </a:cubicBezTo>
                  <a:cubicBezTo>
                    <a:pt x="1567" y="8"/>
                    <a:pt x="1568" y="9"/>
                    <a:pt x="1568" y="10"/>
                  </a:cubicBezTo>
                  <a:cubicBezTo>
                    <a:pt x="1568" y="10"/>
                    <a:pt x="1568" y="11"/>
                    <a:pt x="1567" y="11"/>
                  </a:cubicBezTo>
                  <a:cubicBezTo>
                    <a:pt x="1560" y="14"/>
                    <a:pt x="1560" y="14"/>
                    <a:pt x="1560" y="14"/>
                  </a:cubicBezTo>
                  <a:cubicBezTo>
                    <a:pt x="1566" y="441"/>
                    <a:pt x="1566" y="441"/>
                    <a:pt x="1566" y="441"/>
                  </a:cubicBezTo>
                  <a:cubicBezTo>
                    <a:pt x="1585" y="441"/>
                    <a:pt x="1585" y="441"/>
                    <a:pt x="1585" y="441"/>
                  </a:cubicBezTo>
                  <a:cubicBezTo>
                    <a:pt x="1596" y="573"/>
                    <a:pt x="1596" y="573"/>
                    <a:pt x="1596" y="573"/>
                  </a:cubicBezTo>
                  <a:cubicBezTo>
                    <a:pt x="1686" y="573"/>
                    <a:pt x="1686" y="573"/>
                    <a:pt x="1686" y="573"/>
                  </a:cubicBezTo>
                  <a:cubicBezTo>
                    <a:pt x="1686" y="697"/>
                    <a:pt x="1686" y="697"/>
                    <a:pt x="1686" y="697"/>
                  </a:cubicBezTo>
                  <a:cubicBezTo>
                    <a:pt x="1791" y="697"/>
                    <a:pt x="1791" y="697"/>
                    <a:pt x="1791" y="697"/>
                  </a:cubicBezTo>
                  <a:cubicBezTo>
                    <a:pt x="1791" y="684"/>
                    <a:pt x="1791" y="684"/>
                    <a:pt x="1791" y="684"/>
                  </a:cubicBezTo>
                  <a:cubicBezTo>
                    <a:pt x="1828" y="684"/>
                    <a:pt x="1828" y="684"/>
                    <a:pt x="1828" y="684"/>
                  </a:cubicBezTo>
                  <a:cubicBezTo>
                    <a:pt x="1831" y="682"/>
                    <a:pt x="1831" y="682"/>
                    <a:pt x="1831" y="682"/>
                  </a:cubicBezTo>
                  <a:cubicBezTo>
                    <a:pt x="1867" y="663"/>
                    <a:pt x="1894" y="621"/>
                    <a:pt x="1906" y="559"/>
                  </a:cubicBezTo>
                  <a:cubicBezTo>
                    <a:pt x="1907" y="553"/>
                    <a:pt x="1907" y="553"/>
                    <a:pt x="1907" y="553"/>
                  </a:cubicBezTo>
                  <a:cubicBezTo>
                    <a:pt x="1903" y="549"/>
                    <a:pt x="1903" y="549"/>
                    <a:pt x="1903" y="549"/>
                  </a:cubicBezTo>
                  <a:cubicBezTo>
                    <a:pt x="1888" y="534"/>
                    <a:pt x="1879" y="515"/>
                    <a:pt x="1877" y="495"/>
                  </a:cubicBezTo>
                  <a:cubicBezTo>
                    <a:pt x="1875" y="484"/>
                    <a:pt x="1875" y="484"/>
                    <a:pt x="1875" y="484"/>
                  </a:cubicBezTo>
                  <a:cubicBezTo>
                    <a:pt x="1868" y="484"/>
                    <a:pt x="1868" y="484"/>
                    <a:pt x="1868" y="484"/>
                  </a:cubicBezTo>
                  <a:cubicBezTo>
                    <a:pt x="1868" y="466"/>
                    <a:pt x="1868" y="466"/>
                    <a:pt x="1868" y="466"/>
                  </a:cubicBezTo>
                  <a:cubicBezTo>
                    <a:pt x="1876" y="466"/>
                    <a:pt x="1876" y="466"/>
                    <a:pt x="1876" y="466"/>
                  </a:cubicBezTo>
                  <a:cubicBezTo>
                    <a:pt x="1876" y="300"/>
                    <a:pt x="1876" y="300"/>
                    <a:pt x="1876" y="300"/>
                  </a:cubicBezTo>
                  <a:cubicBezTo>
                    <a:pt x="1876" y="255"/>
                    <a:pt x="1910" y="215"/>
                    <a:pt x="1955" y="209"/>
                  </a:cubicBezTo>
                  <a:cubicBezTo>
                    <a:pt x="1965" y="207"/>
                    <a:pt x="1965" y="207"/>
                    <a:pt x="1965" y="207"/>
                  </a:cubicBezTo>
                  <a:cubicBezTo>
                    <a:pt x="1965" y="191"/>
                    <a:pt x="1965" y="191"/>
                    <a:pt x="1965" y="191"/>
                  </a:cubicBezTo>
                  <a:cubicBezTo>
                    <a:pt x="1974" y="191"/>
                    <a:pt x="1974" y="191"/>
                    <a:pt x="1974" y="191"/>
                  </a:cubicBezTo>
                  <a:cubicBezTo>
                    <a:pt x="1974" y="207"/>
                    <a:pt x="1974" y="207"/>
                    <a:pt x="1974" y="207"/>
                  </a:cubicBezTo>
                  <a:cubicBezTo>
                    <a:pt x="1984" y="209"/>
                    <a:pt x="1984" y="209"/>
                    <a:pt x="1984" y="209"/>
                  </a:cubicBezTo>
                  <a:cubicBezTo>
                    <a:pt x="2029" y="217"/>
                    <a:pt x="2061" y="255"/>
                    <a:pt x="2061" y="300"/>
                  </a:cubicBezTo>
                  <a:cubicBezTo>
                    <a:pt x="2061" y="466"/>
                    <a:pt x="2061" y="466"/>
                    <a:pt x="2061" y="466"/>
                  </a:cubicBezTo>
                  <a:cubicBezTo>
                    <a:pt x="2071" y="466"/>
                    <a:pt x="2071" y="466"/>
                    <a:pt x="2071" y="466"/>
                  </a:cubicBezTo>
                  <a:cubicBezTo>
                    <a:pt x="2071" y="484"/>
                    <a:pt x="2071" y="484"/>
                    <a:pt x="2071" y="484"/>
                  </a:cubicBezTo>
                  <a:cubicBezTo>
                    <a:pt x="2061" y="484"/>
                    <a:pt x="2061" y="484"/>
                    <a:pt x="2061" y="484"/>
                  </a:cubicBezTo>
                  <a:cubicBezTo>
                    <a:pt x="2060" y="495"/>
                    <a:pt x="2060" y="495"/>
                    <a:pt x="2060" y="495"/>
                  </a:cubicBezTo>
                  <a:cubicBezTo>
                    <a:pt x="2058" y="513"/>
                    <a:pt x="2050" y="530"/>
                    <a:pt x="2038" y="544"/>
                  </a:cubicBezTo>
                  <a:cubicBezTo>
                    <a:pt x="2034" y="548"/>
                    <a:pt x="2034" y="548"/>
                    <a:pt x="2034" y="548"/>
                  </a:cubicBezTo>
                  <a:cubicBezTo>
                    <a:pt x="2035" y="554"/>
                    <a:pt x="2035" y="554"/>
                    <a:pt x="2035" y="554"/>
                  </a:cubicBezTo>
                  <a:cubicBezTo>
                    <a:pt x="2047" y="619"/>
                    <a:pt x="2074" y="663"/>
                    <a:pt x="2112" y="682"/>
                  </a:cubicBezTo>
                  <a:cubicBezTo>
                    <a:pt x="2114" y="684"/>
                    <a:pt x="2114" y="684"/>
                    <a:pt x="2114" y="684"/>
                  </a:cubicBezTo>
                  <a:cubicBezTo>
                    <a:pt x="2166" y="684"/>
                    <a:pt x="2166" y="684"/>
                    <a:pt x="2166" y="684"/>
                  </a:cubicBezTo>
                  <a:cubicBezTo>
                    <a:pt x="2166" y="624"/>
                    <a:pt x="2166" y="624"/>
                    <a:pt x="2166" y="624"/>
                  </a:cubicBezTo>
                  <a:cubicBezTo>
                    <a:pt x="2220" y="624"/>
                    <a:pt x="2220" y="624"/>
                    <a:pt x="2220" y="624"/>
                  </a:cubicBezTo>
                  <a:cubicBezTo>
                    <a:pt x="2220" y="490"/>
                    <a:pt x="2220" y="490"/>
                    <a:pt x="2220" y="490"/>
                  </a:cubicBezTo>
                  <a:cubicBezTo>
                    <a:pt x="2220" y="470"/>
                    <a:pt x="2235" y="453"/>
                    <a:pt x="2255" y="451"/>
                  </a:cubicBezTo>
                  <a:cubicBezTo>
                    <a:pt x="2259" y="451"/>
                    <a:pt x="2259" y="451"/>
                    <a:pt x="2259" y="451"/>
                  </a:cubicBezTo>
                  <a:cubicBezTo>
                    <a:pt x="2263" y="451"/>
                    <a:pt x="2263" y="451"/>
                    <a:pt x="2263" y="451"/>
                  </a:cubicBezTo>
                  <a:cubicBezTo>
                    <a:pt x="2284" y="453"/>
                    <a:pt x="2300" y="470"/>
                    <a:pt x="2300" y="490"/>
                  </a:cubicBezTo>
                  <a:cubicBezTo>
                    <a:pt x="2300" y="624"/>
                    <a:pt x="2300" y="624"/>
                    <a:pt x="2300" y="624"/>
                  </a:cubicBezTo>
                  <a:cubicBezTo>
                    <a:pt x="2393" y="624"/>
                    <a:pt x="2393" y="624"/>
                    <a:pt x="2393" y="624"/>
                  </a:cubicBezTo>
                  <a:cubicBezTo>
                    <a:pt x="2393" y="490"/>
                    <a:pt x="2393" y="490"/>
                    <a:pt x="2393" y="490"/>
                  </a:cubicBezTo>
                  <a:cubicBezTo>
                    <a:pt x="2393" y="470"/>
                    <a:pt x="2408" y="453"/>
                    <a:pt x="2428" y="451"/>
                  </a:cubicBezTo>
                  <a:cubicBezTo>
                    <a:pt x="2432" y="450"/>
                    <a:pt x="2432" y="450"/>
                    <a:pt x="2432" y="450"/>
                  </a:cubicBezTo>
                  <a:cubicBezTo>
                    <a:pt x="2436" y="451"/>
                    <a:pt x="2436" y="451"/>
                    <a:pt x="2436" y="451"/>
                  </a:cubicBezTo>
                  <a:cubicBezTo>
                    <a:pt x="2457" y="453"/>
                    <a:pt x="2472" y="470"/>
                    <a:pt x="2472" y="490"/>
                  </a:cubicBezTo>
                  <a:cubicBezTo>
                    <a:pt x="2472" y="624"/>
                    <a:pt x="2472" y="624"/>
                    <a:pt x="2472" y="624"/>
                  </a:cubicBezTo>
                  <a:cubicBezTo>
                    <a:pt x="2631" y="624"/>
                    <a:pt x="2631" y="624"/>
                    <a:pt x="2631" y="624"/>
                  </a:cubicBezTo>
                  <a:cubicBezTo>
                    <a:pt x="2631" y="729"/>
                    <a:pt x="2631" y="729"/>
                    <a:pt x="2631" y="729"/>
                  </a:cubicBezTo>
                  <a:cubicBezTo>
                    <a:pt x="2696" y="729"/>
                    <a:pt x="2696" y="729"/>
                    <a:pt x="2696" y="729"/>
                  </a:cubicBezTo>
                  <a:cubicBezTo>
                    <a:pt x="2696" y="837"/>
                    <a:pt x="2696" y="837"/>
                    <a:pt x="2696" y="837"/>
                  </a:cubicBezTo>
                  <a:cubicBezTo>
                    <a:pt x="2745" y="837"/>
                    <a:pt x="2745" y="837"/>
                    <a:pt x="2745" y="837"/>
                  </a:cubicBezTo>
                  <a:cubicBezTo>
                    <a:pt x="2749" y="832"/>
                    <a:pt x="2749" y="832"/>
                    <a:pt x="2749" y="832"/>
                  </a:cubicBezTo>
                  <a:cubicBezTo>
                    <a:pt x="2779" y="793"/>
                    <a:pt x="2852" y="678"/>
                    <a:pt x="2872" y="443"/>
                  </a:cubicBezTo>
                  <a:cubicBezTo>
                    <a:pt x="2872" y="440"/>
                    <a:pt x="2872" y="436"/>
                    <a:pt x="2873" y="432"/>
                  </a:cubicBezTo>
                  <a:cubicBezTo>
                    <a:pt x="2874" y="417"/>
                    <a:pt x="2874" y="417"/>
                    <a:pt x="2874" y="417"/>
                  </a:cubicBezTo>
                  <a:cubicBezTo>
                    <a:pt x="2874" y="417"/>
                    <a:pt x="2874" y="417"/>
                    <a:pt x="2874" y="417"/>
                  </a:cubicBezTo>
                  <a:cubicBezTo>
                    <a:pt x="2874" y="410"/>
                    <a:pt x="2874" y="410"/>
                    <a:pt x="2874" y="410"/>
                  </a:cubicBezTo>
                  <a:cubicBezTo>
                    <a:pt x="2874" y="405"/>
                    <a:pt x="2875" y="400"/>
                    <a:pt x="2875" y="395"/>
                  </a:cubicBezTo>
                  <a:cubicBezTo>
                    <a:pt x="2877" y="350"/>
                    <a:pt x="2877" y="350"/>
                    <a:pt x="2877" y="350"/>
                  </a:cubicBezTo>
                  <a:cubicBezTo>
                    <a:pt x="2865" y="350"/>
                    <a:pt x="2865" y="350"/>
                    <a:pt x="2865" y="350"/>
                  </a:cubicBezTo>
                  <a:cubicBezTo>
                    <a:pt x="2865" y="338"/>
                    <a:pt x="2865" y="338"/>
                    <a:pt x="2865" y="338"/>
                  </a:cubicBezTo>
                  <a:cubicBezTo>
                    <a:pt x="3036" y="338"/>
                    <a:pt x="3036" y="338"/>
                    <a:pt x="3036" y="338"/>
                  </a:cubicBezTo>
                  <a:cubicBezTo>
                    <a:pt x="3036" y="350"/>
                    <a:pt x="3036" y="350"/>
                    <a:pt x="3036" y="350"/>
                  </a:cubicBezTo>
                  <a:cubicBezTo>
                    <a:pt x="3026" y="350"/>
                    <a:pt x="3026" y="350"/>
                    <a:pt x="3026" y="350"/>
                  </a:cubicBezTo>
                  <a:cubicBezTo>
                    <a:pt x="3027" y="382"/>
                    <a:pt x="3027" y="382"/>
                    <a:pt x="3027" y="382"/>
                  </a:cubicBezTo>
                  <a:cubicBezTo>
                    <a:pt x="3027" y="382"/>
                    <a:pt x="3027" y="382"/>
                    <a:pt x="3027" y="382"/>
                  </a:cubicBezTo>
                  <a:cubicBezTo>
                    <a:pt x="3027" y="394"/>
                    <a:pt x="3027" y="394"/>
                    <a:pt x="3027" y="394"/>
                  </a:cubicBezTo>
                  <a:cubicBezTo>
                    <a:pt x="3027" y="400"/>
                    <a:pt x="3027" y="405"/>
                    <a:pt x="3027" y="410"/>
                  </a:cubicBezTo>
                  <a:cubicBezTo>
                    <a:pt x="3028" y="432"/>
                    <a:pt x="3028" y="432"/>
                    <a:pt x="3028" y="432"/>
                  </a:cubicBezTo>
                  <a:cubicBezTo>
                    <a:pt x="3034" y="543"/>
                    <a:pt x="3053" y="637"/>
                    <a:pt x="3086" y="713"/>
                  </a:cubicBezTo>
                  <a:cubicBezTo>
                    <a:pt x="3113" y="777"/>
                    <a:pt x="3143" y="814"/>
                    <a:pt x="3164" y="834"/>
                  </a:cubicBezTo>
                  <a:cubicBezTo>
                    <a:pt x="3168" y="837"/>
                    <a:pt x="3168" y="837"/>
                    <a:pt x="3168" y="837"/>
                  </a:cubicBezTo>
                  <a:cubicBezTo>
                    <a:pt x="3236" y="837"/>
                    <a:pt x="3236" y="837"/>
                    <a:pt x="3236" y="837"/>
                  </a:cubicBezTo>
                  <a:cubicBezTo>
                    <a:pt x="3237" y="841"/>
                    <a:pt x="3238" y="847"/>
                    <a:pt x="3239" y="856"/>
                  </a:cubicBezTo>
                  <a:cubicBezTo>
                    <a:pt x="3241" y="854"/>
                    <a:pt x="3244" y="851"/>
                    <a:pt x="3246" y="849"/>
                  </a:cubicBezTo>
                  <a:cubicBezTo>
                    <a:pt x="3246" y="849"/>
                    <a:pt x="3246" y="848"/>
                    <a:pt x="3246" y="847"/>
                  </a:cubicBezTo>
                  <a:cubicBezTo>
                    <a:pt x="3243" y="829"/>
                    <a:pt x="3243" y="829"/>
                    <a:pt x="3239" y="829"/>
                  </a:cubicBezTo>
                  <a:cubicBezTo>
                    <a:pt x="3237" y="829"/>
                    <a:pt x="3237" y="829"/>
                    <a:pt x="3237" y="829"/>
                  </a:cubicBezTo>
                  <a:cubicBezTo>
                    <a:pt x="3237" y="829"/>
                    <a:pt x="3237" y="829"/>
                    <a:pt x="3237" y="829"/>
                  </a:cubicBezTo>
                  <a:cubicBezTo>
                    <a:pt x="3171" y="829"/>
                    <a:pt x="3171" y="829"/>
                    <a:pt x="3171" y="829"/>
                  </a:cubicBezTo>
                  <a:cubicBezTo>
                    <a:pt x="3170" y="828"/>
                    <a:pt x="3170" y="828"/>
                    <a:pt x="3170" y="828"/>
                  </a:cubicBezTo>
                  <a:cubicBezTo>
                    <a:pt x="3149" y="808"/>
                    <a:pt x="3120" y="772"/>
                    <a:pt x="3093" y="710"/>
                  </a:cubicBezTo>
                  <a:cubicBezTo>
                    <a:pt x="3061" y="635"/>
                    <a:pt x="3042" y="541"/>
                    <a:pt x="3036" y="432"/>
                  </a:cubicBezTo>
                  <a:cubicBezTo>
                    <a:pt x="3036" y="425"/>
                    <a:pt x="3036" y="425"/>
                    <a:pt x="3036" y="425"/>
                  </a:cubicBezTo>
                  <a:cubicBezTo>
                    <a:pt x="3040" y="425"/>
                    <a:pt x="3040" y="425"/>
                    <a:pt x="3040" y="425"/>
                  </a:cubicBezTo>
                  <a:cubicBezTo>
                    <a:pt x="3040" y="413"/>
                    <a:pt x="3040" y="413"/>
                    <a:pt x="3040" y="413"/>
                  </a:cubicBezTo>
                  <a:cubicBezTo>
                    <a:pt x="3035" y="413"/>
                    <a:pt x="3035" y="413"/>
                    <a:pt x="3035" y="413"/>
                  </a:cubicBezTo>
                  <a:cubicBezTo>
                    <a:pt x="3035" y="410"/>
                    <a:pt x="3035" y="410"/>
                    <a:pt x="3035" y="410"/>
                  </a:cubicBezTo>
                  <a:cubicBezTo>
                    <a:pt x="3035" y="405"/>
                    <a:pt x="3035" y="400"/>
                    <a:pt x="3035" y="394"/>
                  </a:cubicBezTo>
                  <a:cubicBezTo>
                    <a:pt x="3035" y="390"/>
                    <a:pt x="3035" y="390"/>
                    <a:pt x="3035" y="390"/>
                  </a:cubicBezTo>
                  <a:cubicBezTo>
                    <a:pt x="3040" y="390"/>
                    <a:pt x="3040" y="390"/>
                    <a:pt x="3040" y="390"/>
                  </a:cubicBezTo>
                  <a:cubicBezTo>
                    <a:pt x="3040" y="378"/>
                    <a:pt x="3040" y="378"/>
                    <a:pt x="3040" y="378"/>
                  </a:cubicBezTo>
                  <a:cubicBezTo>
                    <a:pt x="3035" y="378"/>
                    <a:pt x="3035" y="378"/>
                    <a:pt x="3035" y="378"/>
                  </a:cubicBezTo>
                  <a:cubicBezTo>
                    <a:pt x="3034" y="358"/>
                    <a:pt x="3034" y="358"/>
                    <a:pt x="3034" y="358"/>
                  </a:cubicBezTo>
                  <a:cubicBezTo>
                    <a:pt x="3044" y="358"/>
                    <a:pt x="3044" y="358"/>
                    <a:pt x="3044" y="358"/>
                  </a:cubicBezTo>
                  <a:cubicBezTo>
                    <a:pt x="3044" y="330"/>
                    <a:pt x="3044" y="330"/>
                    <a:pt x="3044" y="330"/>
                  </a:cubicBezTo>
                  <a:cubicBezTo>
                    <a:pt x="2857" y="330"/>
                    <a:pt x="2857" y="330"/>
                    <a:pt x="2857" y="330"/>
                  </a:cubicBezTo>
                  <a:cubicBezTo>
                    <a:pt x="2857" y="358"/>
                    <a:pt x="2857" y="358"/>
                    <a:pt x="2857" y="358"/>
                  </a:cubicBezTo>
                  <a:cubicBezTo>
                    <a:pt x="2868" y="358"/>
                    <a:pt x="2868" y="358"/>
                    <a:pt x="2868" y="358"/>
                  </a:cubicBezTo>
                  <a:cubicBezTo>
                    <a:pt x="2868" y="378"/>
                    <a:pt x="2868" y="378"/>
                    <a:pt x="2868" y="378"/>
                  </a:cubicBezTo>
                  <a:cubicBezTo>
                    <a:pt x="2862" y="378"/>
                    <a:pt x="2862" y="378"/>
                    <a:pt x="2862" y="378"/>
                  </a:cubicBezTo>
                  <a:cubicBezTo>
                    <a:pt x="2862" y="390"/>
                    <a:pt x="2862" y="390"/>
                    <a:pt x="2862" y="390"/>
                  </a:cubicBezTo>
                  <a:cubicBezTo>
                    <a:pt x="2867" y="390"/>
                    <a:pt x="2867" y="390"/>
                    <a:pt x="2867" y="390"/>
                  </a:cubicBezTo>
                  <a:cubicBezTo>
                    <a:pt x="2867" y="394"/>
                    <a:pt x="2867" y="394"/>
                    <a:pt x="2867" y="394"/>
                  </a:cubicBezTo>
                  <a:cubicBezTo>
                    <a:pt x="2867" y="400"/>
                    <a:pt x="2866" y="405"/>
                    <a:pt x="2866" y="410"/>
                  </a:cubicBezTo>
                  <a:cubicBezTo>
                    <a:pt x="2866" y="413"/>
                    <a:pt x="2866" y="413"/>
                    <a:pt x="2866" y="413"/>
                  </a:cubicBezTo>
                  <a:cubicBezTo>
                    <a:pt x="2862" y="413"/>
                    <a:pt x="2862" y="413"/>
                    <a:pt x="2862" y="413"/>
                  </a:cubicBezTo>
                  <a:cubicBezTo>
                    <a:pt x="2862" y="425"/>
                    <a:pt x="2862" y="425"/>
                    <a:pt x="2862" y="425"/>
                  </a:cubicBezTo>
                  <a:cubicBezTo>
                    <a:pt x="2865" y="425"/>
                    <a:pt x="2865" y="425"/>
                    <a:pt x="2865" y="425"/>
                  </a:cubicBezTo>
                  <a:cubicBezTo>
                    <a:pt x="2865" y="432"/>
                    <a:pt x="2865" y="432"/>
                    <a:pt x="2865" y="432"/>
                  </a:cubicBezTo>
                  <a:cubicBezTo>
                    <a:pt x="2864" y="435"/>
                    <a:pt x="2864" y="439"/>
                    <a:pt x="2864" y="442"/>
                  </a:cubicBezTo>
                  <a:cubicBezTo>
                    <a:pt x="2844" y="675"/>
                    <a:pt x="2772" y="789"/>
                    <a:pt x="2743" y="827"/>
                  </a:cubicBezTo>
                  <a:cubicBezTo>
                    <a:pt x="2741" y="829"/>
                    <a:pt x="2741" y="829"/>
                    <a:pt x="2741" y="829"/>
                  </a:cubicBezTo>
                  <a:cubicBezTo>
                    <a:pt x="2704" y="829"/>
                    <a:pt x="2704" y="829"/>
                    <a:pt x="2704" y="829"/>
                  </a:cubicBezTo>
                  <a:cubicBezTo>
                    <a:pt x="2704" y="721"/>
                    <a:pt x="2704" y="721"/>
                    <a:pt x="2704" y="721"/>
                  </a:cubicBezTo>
                  <a:cubicBezTo>
                    <a:pt x="2639" y="721"/>
                    <a:pt x="2639" y="721"/>
                    <a:pt x="2639" y="721"/>
                  </a:cubicBezTo>
                  <a:cubicBezTo>
                    <a:pt x="2639" y="616"/>
                    <a:pt x="2639" y="616"/>
                    <a:pt x="2639" y="616"/>
                  </a:cubicBezTo>
                  <a:cubicBezTo>
                    <a:pt x="2480" y="616"/>
                    <a:pt x="2480" y="616"/>
                    <a:pt x="2480" y="616"/>
                  </a:cubicBezTo>
                  <a:cubicBezTo>
                    <a:pt x="2480" y="490"/>
                    <a:pt x="2480" y="490"/>
                    <a:pt x="2480" y="490"/>
                  </a:cubicBezTo>
                  <a:cubicBezTo>
                    <a:pt x="2480" y="466"/>
                    <a:pt x="2461" y="445"/>
                    <a:pt x="2437" y="443"/>
                  </a:cubicBezTo>
                  <a:cubicBezTo>
                    <a:pt x="2432" y="442"/>
                    <a:pt x="2432" y="442"/>
                    <a:pt x="2432" y="442"/>
                  </a:cubicBezTo>
                  <a:cubicBezTo>
                    <a:pt x="2427" y="443"/>
                    <a:pt x="2427" y="443"/>
                    <a:pt x="2427" y="443"/>
                  </a:cubicBezTo>
                  <a:cubicBezTo>
                    <a:pt x="2403" y="446"/>
                    <a:pt x="2385" y="466"/>
                    <a:pt x="2385" y="490"/>
                  </a:cubicBezTo>
                  <a:cubicBezTo>
                    <a:pt x="2385" y="616"/>
                    <a:pt x="2385" y="616"/>
                    <a:pt x="2385" y="616"/>
                  </a:cubicBezTo>
                  <a:cubicBezTo>
                    <a:pt x="2308" y="616"/>
                    <a:pt x="2308" y="616"/>
                    <a:pt x="2308" y="616"/>
                  </a:cubicBezTo>
                  <a:cubicBezTo>
                    <a:pt x="2308" y="490"/>
                    <a:pt x="2308" y="490"/>
                    <a:pt x="2308" y="490"/>
                  </a:cubicBezTo>
                  <a:cubicBezTo>
                    <a:pt x="2308" y="466"/>
                    <a:pt x="2289" y="445"/>
                    <a:pt x="2264" y="443"/>
                  </a:cubicBezTo>
                  <a:cubicBezTo>
                    <a:pt x="2259" y="442"/>
                    <a:pt x="2259" y="442"/>
                    <a:pt x="2259" y="442"/>
                  </a:cubicBezTo>
                  <a:cubicBezTo>
                    <a:pt x="2254" y="443"/>
                    <a:pt x="2254" y="443"/>
                    <a:pt x="2254" y="443"/>
                  </a:cubicBezTo>
                  <a:cubicBezTo>
                    <a:pt x="2230" y="446"/>
                    <a:pt x="2212" y="466"/>
                    <a:pt x="2212" y="490"/>
                  </a:cubicBezTo>
                  <a:cubicBezTo>
                    <a:pt x="2212" y="616"/>
                    <a:pt x="2212" y="616"/>
                    <a:pt x="2212" y="616"/>
                  </a:cubicBezTo>
                  <a:cubicBezTo>
                    <a:pt x="2158" y="616"/>
                    <a:pt x="2158" y="616"/>
                    <a:pt x="2158" y="616"/>
                  </a:cubicBezTo>
                  <a:cubicBezTo>
                    <a:pt x="2158" y="676"/>
                    <a:pt x="2158" y="676"/>
                    <a:pt x="2158" y="676"/>
                  </a:cubicBezTo>
                  <a:cubicBezTo>
                    <a:pt x="2116" y="676"/>
                    <a:pt x="2116" y="676"/>
                    <a:pt x="2116" y="676"/>
                  </a:cubicBezTo>
                  <a:cubicBezTo>
                    <a:pt x="2115" y="675"/>
                    <a:pt x="2115" y="675"/>
                    <a:pt x="2115" y="675"/>
                  </a:cubicBezTo>
                  <a:cubicBezTo>
                    <a:pt x="2080" y="657"/>
                    <a:pt x="2055" y="615"/>
                    <a:pt x="2043" y="552"/>
                  </a:cubicBezTo>
                  <a:cubicBezTo>
                    <a:pt x="2043" y="551"/>
                    <a:pt x="2043" y="551"/>
                    <a:pt x="2043" y="551"/>
                  </a:cubicBezTo>
                  <a:cubicBezTo>
                    <a:pt x="2044" y="549"/>
                    <a:pt x="2044" y="549"/>
                    <a:pt x="2044" y="549"/>
                  </a:cubicBezTo>
                  <a:cubicBezTo>
                    <a:pt x="2057" y="534"/>
                    <a:pt x="2065" y="515"/>
                    <a:pt x="2068" y="496"/>
                  </a:cubicBezTo>
                  <a:cubicBezTo>
                    <a:pt x="2068" y="492"/>
                    <a:pt x="2068" y="492"/>
                    <a:pt x="2068" y="492"/>
                  </a:cubicBezTo>
                  <a:cubicBezTo>
                    <a:pt x="2079" y="492"/>
                    <a:pt x="2079" y="492"/>
                    <a:pt x="2079" y="492"/>
                  </a:cubicBezTo>
                  <a:cubicBezTo>
                    <a:pt x="2079" y="458"/>
                    <a:pt x="2079" y="458"/>
                    <a:pt x="2079" y="458"/>
                  </a:cubicBezTo>
                  <a:cubicBezTo>
                    <a:pt x="2069" y="458"/>
                    <a:pt x="2069" y="458"/>
                    <a:pt x="2069" y="458"/>
                  </a:cubicBezTo>
                  <a:cubicBezTo>
                    <a:pt x="2069" y="372"/>
                    <a:pt x="2069" y="372"/>
                    <a:pt x="2069" y="372"/>
                  </a:cubicBezTo>
                  <a:cubicBezTo>
                    <a:pt x="2072" y="372"/>
                    <a:pt x="2072" y="372"/>
                    <a:pt x="2072" y="372"/>
                  </a:cubicBezTo>
                  <a:cubicBezTo>
                    <a:pt x="2072" y="361"/>
                    <a:pt x="2072" y="361"/>
                    <a:pt x="2072" y="361"/>
                  </a:cubicBezTo>
                  <a:cubicBezTo>
                    <a:pt x="2069" y="361"/>
                    <a:pt x="2069" y="361"/>
                    <a:pt x="2069" y="361"/>
                  </a:cubicBezTo>
                  <a:cubicBezTo>
                    <a:pt x="2069" y="300"/>
                    <a:pt x="2069" y="300"/>
                    <a:pt x="2069" y="300"/>
                  </a:cubicBezTo>
                  <a:cubicBezTo>
                    <a:pt x="2069" y="251"/>
                    <a:pt x="2034" y="210"/>
                    <a:pt x="1986" y="201"/>
                  </a:cubicBezTo>
                  <a:cubicBezTo>
                    <a:pt x="1982" y="201"/>
                    <a:pt x="1982" y="201"/>
                    <a:pt x="1982" y="201"/>
                  </a:cubicBezTo>
                  <a:cubicBezTo>
                    <a:pt x="1982" y="183"/>
                    <a:pt x="1982" y="183"/>
                    <a:pt x="1982" y="183"/>
                  </a:cubicBezTo>
                  <a:cubicBezTo>
                    <a:pt x="1957" y="183"/>
                    <a:pt x="1957" y="183"/>
                    <a:pt x="1957" y="183"/>
                  </a:cubicBezTo>
                  <a:cubicBezTo>
                    <a:pt x="1957" y="200"/>
                    <a:pt x="1957" y="200"/>
                    <a:pt x="1957" y="200"/>
                  </a:cubicBezTo>
                  <a:cubicBezTo>
                    <a:pt x="1954" y="201"/>
                    <a:pt x="1954" y="201"/>
                    <a:pt x="1954" y="201"/>
                  </a:cubicBezTo>
                  <a:cubicBezTo>
                    <a:pt x="1905" y="208"/>
                    <a:pt x="1868" y="251"/>
                    <a:pt x="1868" y="300"/>
                  </a:cubicBezTo>
                  <a:cubicBezTo>
                    <a:pt x="1868" y="361"/>
                    <a:pt x="1868" y="361"/>
                    <a:pt x="1868" y="361"/>
                  </a:cubicBezTo>
                  <a:cubicBezTo>
                    <a:pt x="1866" y="361"/>
                    <a:pt x="1866" y="361"/>
                    <a:pt x="1866" y="361"/>
                  </a:cubicBezTo>
                  <a:cubicBezTo>
                    <a:pt x="1866" y="372"/>
                    <a:pt x="1866" y="372"/>
                    <a:pt x="1866" y="372"/>
                  </a:cubicBezTo>
                  <a:cubicBezTo>
                    <a:pt x="1868" y="372"/>
                    <a:pt x="1868" y="372"/>
                    <a:pt x="1868" y="372"/>
                  </a:cubicBezTo>
                  <a:cubicBezTo>
                    <a:pt x="1868" y="458"/>
                    <a:pt x="1868" y="458"/>
                    <a:pt x="1868" y="458"/>
                  </a:cubicBezTo>
                  <a:cubicBezTo>
                    <a:pt x="1860" y="458"/>
                    <a:pt x="1860" y="458"/>
                    <a:pt x="1860" y="458"/>
                  </a:cubicBezTo>
                  <a:cubicBezTo>
                    <a:pt x="1860" y="492"/>
                    <a:pt x="1860" y="492"/>
                    <a:pt x="1860" y="492"/>
                  </a:cubicBezTo>
                  <a:cubicBezTo>
                    <a:pt x="1868" y="492"/>
                    <a:pt x="1868" y="492"/>
                    <a:pt x="1868" y="492"/>
                  </a:cubicBezTo>
                  <a:cubicBezTo>
                    <a:pt x="1869" y="496"/>
                    <a:pt x="1869" y="496"/>
                    <a:pt x="1869" y="496"/>
                  </a:cubicBezTo>
                  <a:cubicBezTo>
                    <a:pt x="1871" y="518"/>
                    <a:pt x="1881" y="538"/>
                    <a:pt x="1897" y="554"/>
                  </a:cubicBezTo>
                  <a:cubicBezTo>
                    <a:pt x="1898" y="556"/>
                    <a:pt x="1898" y="556"/>
                    <a:pt x="1898" y="556"/>
                  </a:cubicBezTo>
                  <a:cubicBezTo>
                    <a:pt x="1898" y="558"/>
                    <a:pt x="1898" y="558"/>
                    <a:pt x="1898" y="558"/>
                  </a:cubicBezTo>
                  <a:cubicBezTo>
                    <a:pt x="1886" y="617"/>
                    <a:pt x="1862" y="657"/>
                    <a:pt x="1827" y="675"/>
                  </a:cubicBezTo>
                  <a:cubicBezTo>
                    <a:pt x="1826" y="676"/>
                    <a:pt x="1826" y="676"/>
                    <a:pt x="1826" y="676"/>
                  </a:cubicBezTo>
                  <a:cubicBezTo>
                    <a:pt x="1783" y="676"/>
                    <a:pt x="1783" y="676"/>
                    <a:pt x="1783" y="676"/>
                  </a:cubicBezTo>
                  <a:cubicBezTo>
                    <a:pt x="1783" y="689"/>
                    <a:pt x="1783" y="689"/>
                    <a:pt x="1783" y="689"/>
                  </a:cubicBezTo>
                  <a:cubicBezTo>
                    <a:pt x="1694" y="689"/>
                    <a:pt x="1694" y="689"/>
                    <a:pt x="1694" y="689"/>
                  </a:cubicBezTo>
                  <a:cubicBezTo>
                    <a:pt x="1694" y="565"/>
                    <a:pt x="1694" y="565"/>
                    <a:pt x="1694" y="565"/>
                  </a:cubicBezTo>
                  <a:cubicBezTo>
                    <a:pt x="1603" y="565"/>
                    <a:pt x="1603" y="565"/>
                    <a:pt x="1603" y="565"/>
                  </a:cubicBezTo>
                  <a:cubicBezTo>
                    <a:pt x="1592" y="433"/>
                    <a:pt x="1592" y="433"/>
                    <a:pt x="1592" y="433"/>
                  </a:cubicBezTo>
                  <a:cubicBezTo>
                    <a:pt x="1574" y="433"/>
                    <a:pt x="1574" y="433"/>
                    <a:pt x="1574" y="433"/>
                  </a:cubicBezTo>
                  <a:cubicBezTo>
                    <a:pt x="1568" y="19"/>
                    <a:pt x="1568" y="19"/>
                    <a:pt x="1568" y="19"/>
                  </a:cubicBezTo>
                  <a:cubicBezTo>
                    <a:pt x="1570" y="18"/>
                    <a:pt x="1570" y="18"/>
                    <a:pt x="1570" y="18"/>
                  </a:cubicBezTo>
                  <a:cubicBezTo>
                    <a:pt x="1574" y="17"/>
                    <a:pt x="1576" y="13"/>
                    <a:pt x="1576" y="10"/>
                  </a:cubicBezTo>
                  <a:cubicBezTo>
                    <a:pt x="1576" y="4"/>
                    <a:pt x="1572" y="0"/>
                    <a:pt x="1566" y="0"/>
                  </a:cubicBezTo>
                  <a:cubicBezTo>
                    <a:pt x="1518" y="0"/>
                    <a:pt x="1518" y="0"/>
                    <a:pt x="1518" y="0"/>
                  </a:cubicBezTo>
                  <a:cubicBezTo>
                    <a:pt x="1512" y="0"/>
                    <a:pt x="1508" y="4"/>
                    <a:pt x="1508" y="10"/>
                  </a:cubicBezTo>
                  <a:cubicBezTo>
                    <a:pt x="1508" y="14"/>
                    <a:pt x="1511" y="17"/>
                    <a:pt x="1515" y="19"/>
                  </a:cubicBezTo>
                  <a:cubicBezTo>
                    <a:pt x="1518" y="20"/>
                    <a:pt x="1518" y="20"/>
                    <a:pt x="1518" y="20"/>
                  </a:cubicBezTo>
                  <a:cubicBezTo>
                    <a:pt x="1510" y="433"/>
                    <a:pt x="1510" y="433"/>
                    <a:pt x="1510" y="433"/>
                  </a:cubicBezTo>
                  <a:cubicBezTo>
                    <a:pt x="1497" y="433"/>
                    <a:pt x="1497" y="433"/>
                    <a:pt x="1497" y="433"/>
                  </a:cubicBezTo>
                  <a:cubicBezTo>
                    <a:pt x="1484" y="565"/>
                    <a:pt x="1484" y="565"/>
                    <a:pt x="1484" y="565"/>
                  </a:cubicBezTo>
                  <a:cubicBezTo>
                    <a:pt x="1396" y="565"/>
                    <a:pt x="1396" y="565"/>
                    <a:pt x="1396" y="565"/>
                  </a:cubicBezTo>
                  <a:cubicBezTo>
                    <a:pt x="1386" y="433"/>
                    <a:pt x="1386" y="433"/>
                    <a:pt x="1386" y="433"/>
                  </a:cubicBezTo>
                  <a:cubicBezTo>
                    <a:pt x="1367" y="433"/>
                    <a:pt x="1367" y="433"/>
                    <a:pt x="1367" y="433"/>
                  </a:cubicBezTo>
                  <a:cubicBezTo>
                    <a:pt x="1362" y="116"/>
                    <a:pt x="1362" y="116"/>
                    <a:pt x="1362" y="116"/>
                  </a:cubicBezTo>
                  <a:cubicBezTo>
                    <a:pt x="1363" y="115"/>
                    <a:pt x="1363" y="115"/>
                    <a:pt x="1363" y="115"/>
                  </a:cubicBezTo>
                  <a:cubicBezTo>
                    <a:pt x="1366" y="113"/>
                    <a:pt x="1368" y="110"/>
                    <a:pt x="1368" y="107"/>
                  </a:cubicBezTo>
                  <a:cubicBezTo>
                    <a:pt x="1368" y="101"/>
                    <a:pt x="1363" y="97"/>
                    <a:pt x="1358" y="97"/>
                  </a:cubicBezTo>
                  <a:cubicBezTo>
                    <a:pt x="1309" y="97"/>
                    <a:pt x="1309" y="97"/>
                    <a:pt x="1309" y="97"/>
                  </a:cubicBezTo>
                  <a:cubicBezTo>
                    <a:pt x="1304" y="97"/>
                    <a:pt x="1300" y="101"/>
                    <a:pt x="1300" y="107"/>
                  </a:cubicBezTo>
                  <a:cubicBezTo>
                    <a:pt x="1300" y="111"/>
                    <a:pt x="1303" y="115"/>
                    <a:pt x="1308" y="116"/>
                  </a:cubicBezTo>
                  <a:cubicBezTo>
                    <a:pt x="1311" y="117"/>
                    <a:pt x="1311" y="117"/>
                    <a:pt x="1311" y="117"/>
                  </a:cubicBezTo>
                  <a:cubicBezTo>
                    <a:pt x="1304" y="433"/>
                    <a:pt x="1304" y="433"/>
                    <a:pt x="1304" y="433"/>
                  </a:cubicBezTo>
                  <a:cubicBezTo>
                    <a:pt x="1291" y="433"/>
                    <a:pt x="1291" y="433"/>
                    <a:pt x="1291" y="433"/>
                  </a:cubicBezTo>
                  <a:cubicBezTo>
                    <a:pt x="1277" y="565"/>
                    <a:pt x="1277" y="565"/>
                    <a:pt x="1277" y="565"/>
                  </a:cubicBezTo>
                  <a:cubicBezTo>
                    <a:pt x="1197" y="565"/>
                    <a:pt x="1197" y="565"/>
                    <a:pt x="1197" y="565"/>
                  </a:cubicBezTo>
                  <a:cubicBezTo>
                    <a:pt x="1187" y="433"/>
                    <a:pt x="1187" y="433"/>
                    <a:pt x="1187" y="433"/>
                  </a:cubicBezTo>
                  <a:cubicBezTo>
                    <a:pt x="1171" y="433"/>
                    <a:pt x="1171" y="433"/>
                    <a:pt x="1171" y="433"/>
                  </a:cubicBezTo>
                  <a:cubicBezTo>
                    <a:pt x="1167" y="228"/>
                    <a:pt x="1167" y="228"/>
                    <a:pt x="1167" y="228"/>
                  </a:cubicBezTo>
                  <a:cubicBezTo>
                    <a:pt x="1169" y="227"/>
                    <a:pt x="1169" y="227"/>
                    <a:pt x="1169" y="227"/>
                  </a:cubicBezTo>
                  <a:cubicBezTo>
                    <a:pt x="1173" y="225"/>
                    <a:pt x="1175" y="222"/>
                    <a:pt x="1175" y="218"/>
                  </a:cubicBezTo>
                  <a:cubicBezTo>
                    <a:pt x="1175" y="213"/>
                    <a:pt x="1170" y="208"/>
                    <a:pt x="1165" y="208"/>
                  </a:cubicBezTo>
                  <a:cubicBezTo>
                    <a:pt x="1116" y="208"/>
                    <a:pt x="1116" y="208"/>
                    <a:pt x="1116" y="208"/>
                  </a:cubicBezTo>
                  <a:cubicBezTo>
                    <a:pt x="1111" y="208"/>
                    <a:pt x="1107" y="213"/>
                    <a:pt x="1107" y="218"/>
                  </a:cubicBezTo>
                  <a:cubicBezTo>
                    <a:pt x="1107" y="222"/>
                    <a:pt x="1109" y="226"/>
                    <a:pt x="1114" y="227"/>
                  </a:cubicBezTo>
                  <a:cubicBezTo>
                    <a:pt x="1117" y="228"/>
                    <a:pt x="1117" y="228"/>
                    <a:pt x="1117" y="228"/>
                  </a:cubicBezTo>
                  <a:cubicBezTo>
                    <a:pt x="1111" y="433"/>
                    <a:pt x="1111" y="433"/>
                    <a:pt x="1111" y="433"/>
                  </a:cubicBezTo>
                  <a:cubicBezTo>
                    <a:pt x="1092" y="433"/>
                    <a:pt x="1092" y="433"/>
                    <a:pt x="1092" y="433"/>
                  </a:cubicBezTo>
                  <a:cubicBezTo>
                    <a:pt x="1078" y="565"/>
                    <a:pt x="1078" y="565"/>
                    <a:pt x="1078" y="565"/>
                  </a:cubicBezTo>
                  <a:cubicBezTo>
                    <a:pt x="973" y="565"/>
                    <a:pt x="973" y="565"/>
                    <a:pt x="973" y="565"/>
                  </a:cubicBezTo>
                  <a:cubicBezTo>
                    <a:pt x="973" y="689"/>
                    <a:pt x="973" y="689"/>
                    <a:pt x="973" y="689"/>
                  </a:cubicBezTo>
                  <a:cubicBezTo>
                    <a:pt x="867" y="684"/>
                    <a:pt x="867" y="684"/>
                    <a:pt x="867" y="684"/>
                  </a:cubicBezTo>
                  <a:cubicBezTo>
                    <a:pt x="867" y="463"/>
                    <a:pt x="867" y="463"/>
                    <a:pt x="867" y="463"/>
                  </a:cubicBezTo>
                  <a:cubicBezTo>
                    <a:pt x="677" y="520"/>
                    <a:pt x="677" y="520"/>
                    <a:pt x="677" y="520"/>
                  </a:cubicBezTo>
                  <a:cubicBezTo>
                    <a:pt x="677" y="463"/>
                    <a:pt x="677" y="463"/>
                    <a:pt x="677" y="463"/>
                  </a:cubicBezTo>
                  <a:cubicBezTo>
                    <a:pt x="486" y="520"/>
                    <a:pt x="486" y="520"/>
                    <a:pt x="486" y="520"/>
                  </a:cubicBezTo>
                  <a:cubicBezTo>
                    <a:pt x="486" y="463"/>
                    <a:pt x="486" y="463"/>
                    <a:pt x="486" y="463"/>
                  </a:cubicBezTo>
                  <a:cubicBezTo>
                    <a:pt x="294" y="521"/>
                    <a:pt x="294" y="521"/>
                    <a:pt x="294" y="521"/>
                  </a:cubicBezTo>
                  <a:cubicBezTo>
                    <a:pt x="294" y="684"/>
                    <a:pt x="294" y="684"/>
                    <a:pt x="294" y="684"/>
                  </a:cubicBezTo>
                  <a:cubicBezTo>
                    <a:pt x="199" y="684"/>
                    <a:pt x="199" y="684"/>
                    <a:pt x="199" y="684"/>
                  </a:cubicBezTo>
                  <a:cubicBezTo>
                    <a:pt x="185" y="252"/>
                    <a:pt x="185" y="252"/>
                    <a:pt x="185" y="252"/>
                  </a:cubicBezTo>
                  <a:cubicBezTo>
                    <a:pt x="193" y="251"/>
                    <a:pt x="200" y="245"/>
                    <a:pt x="200" y="236"/>
                  </a:cubicBezTo>
                  <a:cubicBezTo>
                    <a:pt x="200" y="228"/>
                    <a:pt x="193" y="221"/>
                    <a:pt x="184" y="221"/>
                  </a:cubicBezTo>
                  <a:cubicBezTo>
                    <a:pt x="80" y="221"/>
                    <a:pt x="80" y="221"/>
                    <a:pt x="80" y="221"/>
                  </a:cubicBezTo>
                  <a:cubicBezTo>
                    <a:pt x="72" y="221"/>
                    <a:pt x="65" y="228"/>
                    <a:pt x="65" y="236"/>
                  </a:cubicBezTo>
                  <a:cubicBezTo>
                    <a:pt x="65" y="244"/>
                    <a:pt x="71" y="251"/>
                    <a:pt x="79" y="252"/>
                  </a:cubicBezTo>
                  <a:cubicBezTo>
                    <a:pt x="62" y="723"/>
                    <a:pt x="62" y="723"/>
                    <a:pt x="62" y="723"/>
                  </a:cubicBezTo>
                  <a:cubicBezTo>
                    <a:pt x="40" y="721"/>
                    <a:pt x="10" y="718"/>
                    <a:pt x="7" y="716"/>
                  </a:cubicBezTo>
                  <a:cubicBezTo>
                    <a:pt x="8" y="717"/>
                    <a:pt x="9" y="718"/>
                    <a:pt x="9" y="720"/>
                  </a:cubicBezTo>
                  <a:cubicBezTo>
                    <a:pt x="1" y="719"/>
                    <a:pt x="1" y="719"/>
                    <a:pt x="1" y="719"/>
                  </a:cubicBezTo>
                  <a:cubicBezTo>
                    <a:pt x="1" y="722"/>
                    <a:pt x="1" y="722"/>
                    <a:pt x="1" y="722"/>
                  </a:cubicBezTo>
                  <a:cubicBezTo>
                    <a:pt x="0" y="771"/>
                    <a:pt x="0" y="771"/>
                    <a:pt x="0" y="771"/>
                  </a:cubicBezTo>
                  <a:cubicBezTo>
                    <a:pt x="3" y="772"/>
                    <a:pt x="6" y="774"/>
                    <a:pt x="8" y="776"/>
                  </a:cubicBezTo>
                  <a:close/>
                </a:path>
              </a:pathLst>
            </a:custGeom>
            <a:grpFill/>
            <a:ln w="12700" cap="flat">
              <a:solidFill>
                <a:schemeClr val="bg1">
                  <a:alpha val="57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4690" y="1472706"/>
            <a:ext cx="10845798" cy="2293937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582322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=""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5837829"/>
            <a:ext cx="10845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6973732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F5A53-C728-4F5F-9F4C-B4D0781C8750}" type="datetimeFigureOut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DE7D6-2695-4B77-BF29-629DBD5F6D6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448397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F5A53-C728-4F5F-9F4C-B4D0781C8750}" type="datetimeFigureOut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DE7D6-2695-4B77-BF29-629DBD5F6D6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035520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F5A53-C728-4F5F-9F4C-B4D0781C8750}" type="datetimeFigureOut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DE7D6-2695-4B77-BF29-629DBD5F6D6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146567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F5A53-C728-4F5F-9F4C-B4D0781C8750}" type="datetimeFigureOut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DE7D6-2695-4B77-BF29-629DBD5F6D6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76754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F5A53-C728-4F5F-9F4C-B4D0781C8750}" type="datetimeFigureOut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DE7D6-2695-4B77-BF29-629DBD5F6D6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329731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F5A53-C728-4F5F-9F4C-B4D0781C8750}" type="datetimeFigureOut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DE7D6-2695-4B77-BF29-629DBD5F6D6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251358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F5A53-C728-4F5F-9F4C-B4D0781C8750}" type="datetimeFigureOut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DE7D6-2695-4B77-BF29-629DBD5F6D6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691626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F5A53-C728-4F5F-9F4C-B4D0781C8750}" type="datetimeFigureOut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7DE7D6-2695-4B77-BF29-629DBD5F6D6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880778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AF5A53-C728-4F5F-9F4C-B4D0781C8750}" type="datetimeFigureOut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7DE7D6-2695-4B77-BF29-629DBD5F6D6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54470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=""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EF7F7CA9-6A68-4945-A4C6-6446471CD7BD}" type="datetime1">
              <a:rPr lang="zh-CN" altLang="en-US" smtClean="0"/>
              <a:t>2021/7/16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=""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=""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99577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4.xml"/><Relationship Id="rId6" Type="http://schemas.openxmlformats.org/officeDocument/2006/relationships/image" Target="../media/image8.png"/><Relationship Id="rId5" Type="http://schemas.openxmlformats.org/officeDocument/2006/relationships/hyperlink" Target="http://yingxin.upc.edu.cn/" TargetMode="Externa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5.xml"/><Relationship Id="rId6" Type="http://schemas.openxmlformats.org/officeDocument/2006/relationships/image" Target="../media/image10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6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7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6.jpe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8.xml"/><Relationship Id="rId6" Type="http://schemas.openxmlformats.org/officeDocument/2006/relationships/image" Target="../media/image15.jpe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=""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=""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=""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CN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+mn-cs"/>
              <a:sym typeface="Arial" panose="020B0604020202020204" pitchFamily="34" charset="0"/>
            </a:endParaRPr>
          </a:p>
        </p:txBody>
      </p:sp>
      <p:pic>
        <p:nvPicPr>
          <p:cNvPr id="23" name="图片 22">
            <a:extLst>
              <a:ext uri="{FF2B5EF4-FFF2-40B4-BE49-F238E27FC236}">
                <a16:creationId xmlns="" xmlns:a16="http://schemas.microsoft.com/office/drawing/2014/main" id="{17D5DC35-201B-4590-BA9F-9D8533DC9F9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5" r="548"/>
          <a:stretch/>
        </p:blipFill>
        <p:spPr>
          <a:xfrm>
            <a:off x="0" y="-155468"/>
            <a:ext cx="12192000" cy="6847301"/>
          </a:xfrm>
          <a:prstGeom prst="rect">
            <a:avLst/>
          </a:prstGeom>
        </p:spPr>
      </p:pic>
      <p:sp>
        <p:nvSpPr>
          <p:cNvPr id="24" name="标题 4">
            <a:extLst>
              <a:ext uri="{FF2B5EF4-FFF2-40B4-BE49-F238E27FC236}">
                <a16:creationId xmlns="" xmlns:a16="http://schemas.microsoft.com/office/drawing/2014/main" id="{0C230273-4E1B-46E0-81B5-A133CEDA082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2595" y="2147226"/>
            <a:ext cx="11326810" cy="1194893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>
            <a:normAutofit/>
          </a:bodyPr>
          <a:lstStyle/>
          <a:p>
            <a:r>
              <a:rPr lang="en-US" altLang="zh-CN" sz="6600" b="1" dirty="0">
                <a:gradFill>
                  <a:gsLst>
                    <a:gs pos="0">
                      <a:srgbClr val="0A705D"/>
                    </a:gs>
                    <a:gs pos="100000">
                      <a:schemeClr val="bg1"/>
                    </a:gs>
                  </a:gsLst>
                  <a:lin ang="162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2021</a:t>
            </a:r>
            <a:r>
              <a:rPr lang="zh-CN" altLang="en-US" sz="6600" b="1" dirty="0">
                <a:gradFill>
                  <a:gsLst>
                    <a:gs pos="0">
                      <a:srgbClr val="0A705D"/>
                    </a:gs>
                    <a:gs pos="100000">
                      <a:schemeClr val="bg1"/>
                    </a:gs>
                  </a:gsLst>
                  <a:lin ang="162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zh-CN" altLang="en-US" sz="6600" b="1" dirty="0" smtClean="0">
                <a:gradFill>
                  <a:gsLst>
                    <a:gs pos="0">
                      <a:srgbClr val="0A705D"/>
                    </a:gs>
                    <a:gs pos="100000">
                      <a:schemeClr val="bg1"/>
                    </a:gs>
                  </a:gsLst>
                  <a:lin ang="162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迎新应用使用</a:t>
            </a:r>
            <a:r>
              <a:rPr lang="zh-CN" altLang="en-US" sz="6600" b="1" dirty="0">
                <a:gradFill>
                  <a:gsLst>
                    <a:gs pos="0">
                      <a:srgbClr val="0A705D"/>
                    </a:gs>
                    <a:gs pos="100000">
                      <a:schemeClr val="bg1"/>
                    </a:gs>
                  </a:gsLst>
                  <a:lin ang="16200000" scaled="1"/>
                </a:gradFill>
                <a:latin typeface="微软雅黑" panose="020B0503020204020204" pitchFamily="34" charset="-122"/>
                <a:ea typeface="微软雅黑" panose="020B0503020204020204" pitchFamily="34" charset="-122"/>
              </a:rPr>
              <a:t>说明</a:t>
            </a:r>
            <a:endParaRPr lang="zh-CN" altLang="en-US" sz="6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6" name="图片 25">
            <a:extLst>
              <a:ext uri="{FF2B5EF4-FFF2-40B4-BE49-F238E27FC236}">
                <a16:creationId xmlns="" xmlns:a16="http://schemas.microsoft.com/office/drawing/2014/main" id="{D10C6A9B-B3E8-4FBE-8457-DC0E10C489A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18" t="7421" r="16791" b="20191"/>
          <a:stretch/>
        </p:blipFill>
        <p:spPr>
          <a:xfrm>
            <a:off x="1138460" y="241022"/>
            <a:ext cx="703082" cy="762000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1069" name="Picture 45" descr="http://csun.upc.edu.cn/_upload/site/00/3b/59/logo.png">
            <a:extLst>
              <a:ext uri="{FF2B5EF4-FFF2-40B4-BE49-F238E27FC236}">
                <a16:creationId xmlns="" xmlns:a16="http://schemas.microsoft.com/office/drawing/2014/main" id="{2EF5043B-B676-4AB1-84EA-4C997CED63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0132"/>
          <a:stretch/>
        </p:blipFill>
        <p:spPr bwMode="auto">
          <a:xfrm>
            <a:off x="341977" y="309677"/>
            <a:ext cx="703082" cy="66279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标题 4">
            <a:extLst>
              <a:ext uri="{FF2B5EF4-FFF2-40B4-BE49-F238E27FC236}">
                <a16:creationId xmlns="" xmlns:a16="http://schemas.microsoft.com/office/drawing/2014/main" id="{48108CFC-0C93-4931-BFAB-8202C9A46988}"/>
              </a:ext>
            </a:extLst>
          </p:cNvPr>
          <p:cNvSpPr txBox="1">
            <a:spLocks/>
          </p:cNvSpPr>
          <p:nvPr/>
        </p:nvSpPr>
        <p:spPr>
          <a:xfrm>
            <a:off x="4240610" y="3899734"/>
            <a:ext cx="3710780" cy="46645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b">
            <a:normAutofit/>
          </a:bodyPr>
          <a:lstStyle>
            <a:lvl1pPr algn="ctr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A705D"/>
                    </a:gs>
                    <a:gs pos="100000">
                      <a:prstClr val="white"/>
                    </a:gs>
                  </a:gsLst>
                  <a:lin ang="162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2021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A705D"/>
                    </a:gs>
                    <a:gs pos="100000">
                      <a:prstClr val="white"/>
                    </a:gs>
                  </a:gsLst>
                  <a:lin ang="162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年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A705D"/>
                    </a:gs>
                    <a:gs pos="100000">
                      <a:prstClr val="white"/>
                    </a:gs>
                  </a:gsLst>
                  <a:lin ang="162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7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A705D"/>
                    </a:gs>
                    <a:gs pos="100000">
                      <a:prstClr val="white"/>
                    </a:gs>
                  </a:gsLst>
                  <a:lin ang="162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月</a:t>
            </a:r>
            <a:r>
              <a:rPr kumimoji="0" lang="en-US" altLang="zh-CN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A705D"/>
                    </a:gs>
                    <a:gs pos="100000">
                      <a:prstClr val="white"/>
                    </a:gs>
                  </a:gsLst>
                  <a:lin ang="162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20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0A705D"/>
                    </a:gs>
                    <a:gs pos="100000">
                      <a:prstClr val="white"/>
                    </a:gs>
                  </a:gsLst>
                  <a:lin ang="162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日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9" name="标题 4">
            <a:extLst>
              <a:ext uri="{FF2B5EF4-FFF2-40B4-BE49-F238E27FC236}">
                <a16:creationId xmlns="" xmlns:a16="http://schemas.microsoft.com/office/drawing/2014/main" id="{48108CFC-0C93-4931-BFAB-8202C9A46988}"/>
              </a:ext>
            </a:extLst>
          </p:cNvPr>
          <p:cNvSpPr txBox="1">
            <a:spLocks/>
          </p:cNvSpPr>
          <p:nvPr/>
        </p:nvSpPr>
        <p:spPr>
          <a:xfrm>
            <a:off x="4240610" y="4457349"/>
            <a:ext cx="3710780" cy="46645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b">
            <a:normAutofit/>
          </a:bodyPr>
          <a:lstStyle>
            <a:lvl1pPr algn="ctr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35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0A705D"/>
                    </a:gs>
                    <a:gs pos="100000">
                      <a:prstClr val="white"/>
                    </a:gs>
                  </a:gsLst>
                  <a:lin ang="16200000" scaled="1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石大易班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right-arrowheads_44810">
            <a:extLst>
              <a:ext uri="{FF2B5EF4-FFF2-40B4-BE49-F238E27FC236}">
                <a16:creationId xmlns="" xmlns:a16="http://schemas.microsoft.com/office/drawing/2014/main" id="{E2FB155C-7241-4FAF-BFFF-BE33BAC407CA}"/>
              </a:ext>
            </a:extLst>
          </p:cNvPr>
          <p:cNvSpPr/>
          <p:nvPr/>
        </p:nvSpPr>
        <p:spPr>
          <a:xfrm>
            <a:off x="180755" y="173557"/>
            <a:ext cx="533004" cy="520660"/>
          </a:xfrm>
          <a:custGeom>
            <a:avLst/>
            <a:gdLst>
              <a:gd name="T0" fmla="*/ 59 w 415"/>
              <a:gd name="T1" fmla="*/ 406 h 406"/>
              <a:gd name="T2" fmla="*/ 25 w 415"/>
              <a:gd name="T3" fmla="*/ 394 h 406"/>
              <a:gd name="T4" fmla="*/ 19 w 415"/>
              <a:gd name="T5" fmla="*/ 318 h 406"/>
              <a:gd name="T6" fmla="*/ 114 w 415"/>
              <a:gd name="T7" fmla="*/ 206 h 406"/>
              <a:gd name="T8" fmla="*/ 19 w 415"/>
              <a:gd name="T9" fmla="*/ 94 h 406"/>
              <a:gd name="T10" fmla="*/ 25 w 415"/>
              <a:gd name="T11" fmla="*/ 19 h 406"/>
              <a:gd name="T12" fmla="*/ 100 w 415"/>
              <a:gd name="T13" fmla="*/ 25 h 406"/>
              <a:gd name="T14" fmla="*/ 225 w 415"/>
              <a:gd name="T15" fmla="*/ 172 h 406"/>
              <a:gd name="T16" fmla="*/ 225 w 415"/>
              <a:gd name="T17" fmla="*/ 241 h 406"/>
              <a:gd name="T18" fmla="*/ 100 w 415"/>
              <a:gd name="T19" fmla="*/ 388 h 406"/>
              <a:gd name="T20" fmla="*/ 59 w 415"/>
              <a:gd name="T21" fmla="*/ 406 h 406"/>
              <a:gd name="T22" fmla="*/ 273 w 415"/>
              <a:gd name="T23" fmla="*/ 388 h 406"/>
              <a:gd name="T24" fmla="*/ 398 w 415"/>
              <a:gd name="T25" fmla="*/ 241 h 406"/>
              <a:gd name="T26" fmla="*/ 398 w 415"/>
              <a:gd name="T27" fmla="*/ 172 h 406"/>
              <a:gd name="T28" fmla="*/ 273 w 415"/>
              <a:gd name="T29" fmla="*/ 25 h 406"/>
              <a:gd name="T30" fmla="*/ 198 w 415"/>
              <a:gd name="T31" fmla="*/ 19 h 406"/>
              <a:gd name="T32" fmla="*/ 192 w 415"/>
              <a:gd name="T33" fmla="*/ 94 h 406"/>
              <a:gd name="T34" fmla="*/ 287 w 415"/>
              <a:gd name="T35" fmla="*/ 206 h 406"/>
              <a:gd name="T36" fmla="*/ 192 w 415"/>
              <a:gd name="T37" fmla="*/ 318 h 406"/>
              <a:gd name="T38" fmla="*/ 198 w 415"/>
              <a:gd name="T39" fmla="*/ 394 h 406"/>
              <a:gd name="T40" fmla="*/ 232 w 415"/>
              <a:gd name="T41" fmla="*/ 406 h 406"/>
              <a:gd name="T42" fmla="*/ 273 w 415"/>
              <a:gd name="T43" fmla="*/ 388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5" h="406">
                <a:moveTo>
                  <a:pt x="59" y="406"/>
                </a:moveTo>
                <a:cubicBezTo>
                  <a:pt x="47" y="406"/>
                  <a:pt x="35" y="402"/>
                  <a:pt x="25" y="394"/>
                </a:cubicBezTo>
                <a:cubicBezTo>
                  <a:pt x="2" y="375"/>
                  <a:pt x="0" y="341"/>
                  <a:pt x="19" y="318"/>
                </a:cubicBezTo>
                <a:lnTo>
                  <a:pt x="114" y="206"/>
                </a:lnTo>
                <a:lnTo>
                  <a:pt x="19" y="94"/>
                </a:lnTo>
                <a:cubicBezTo>
                  <a:pt x="0" y="71"/>
                  <a:pt x="2" y="38"/>
                  <a:pt x="25" y="19"/>
                </a:cubicBezTo>
                <a:cubicBezTo>
                  <a:pt x="47" y="0"/>
                  <a:pt x="81" y="2"/>
                  <a:pt x="100" y="25"/>
                </a:cubicBezTo>
                <a:lnTo>
                  <a:pt x="225" y="172"/>
                </a:lnTo>
                <a:cubicBezTo>
                  <a:pt x="242" y="192"/>
                  <a:pt x="242" y="221"/>
                  <a:pt x="225" y="241"/>
                </a:cubicBezTo>
                <a:lnTo>
                  <a:pt x="100" y="388"/>
                </a:lnTo>
                <a:cubicBezTo>
                  <a:pt x="89" y="400"/>
                  <a:pt x="74" y="406"/>
                  <a:pt x="59" y="406"/>
                </a:cubicBezTo>
                <a:close/>
                <a:moveTo>
                  <a:pt x="273" y="388"/>
                </a:moveTo>
                <a:lnTo>
                  <a:pt x="398" y="241"/>
                </a:lnTo>
                <a:cubicBezTo>
                  <a:pt x="415" y="221"/>
                  <a:pt x="415" y="192"/>
                  <a:pt x="398" y="172"/>
                </a:cubicBezTo>
                <a:lnTo>
                  <a:pt x="273" y="25"/>
                </a:lnTo>
                <a:cubicBezTo>
                  <a:pt x="254" y="2"/>
                  <a:pt x="220" y="0"/>
                  <a:pt x="198" y="19"/>
                </a:cubicBezTo>
                <a:cubicBezTo>
                  <a:pt x="175" y="38"/>
                  <a:pt x="173" y="71"/>
                  <a:pt x="192" y="94"/>
                </a:cubicBezTo>
                <a:lnTo>
                  <a:pt x="287" y="206"/>
                </a:lnTo>
                <a:lnTo>
                  <a:pt x="192" y="318"/>
                </a:lnTo>
                <a:cubicBezTo>
                  <a:pt x="173" y="341"/>
                  <a:pt x="175" y="375"/>
                  <a:pt x="198" y="394"/>
                </a:cubicBezTo>
                <a:cubicBezTo>
                  <a:pt x="208" y="402"/>
                  <a:pt x="220" y="406"/>
                  <a:pt x="232" y="406"/>
                </a:cubicBezTo>
                <a:cubicBezTo>
                  <a:pt x="247" y="406"/>
                  <a:pt x="262" y="400"/>
                  <a:pt x="273" y="38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="" xmlns:a16="http://schemas.microsoft.com/office/drawing/2014/main" id="{61D803C0-77CF-4160-8975-8FF535D7147E}"/>
              </a:ext>
            </a:extLst>
          </p:cNvPr>
          <p:cNvCxnSpPr>
            <a:cxnSpLocks/>
          </p:cNvCxnSpPr>
          <p:nvPr/>
        </p:nvCxnSpPr>
        <p:spPr>
          <a:xfrm>
            <a:off x="222402" y="678828"/>
            <a:ext cx="11969598" cy="1562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图片 13">
            <a:extLst>
              <a:ext uri="{FF2B5EF4-FFF2-40B4-BE49-F238E27FC236}">
                <a16:creationId xmlns="" xmlns:a16="http://schemas.microsoft.com/office/drawing/2014/main" id="{56664C41-6ED4-46D6-A99B-448D63A15F3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98"/>
          <a:stretch/>
        </p:blipFill>
        <p:spPr>
          <a:xfrm>
            <a:off x="11355572" y="-15626"/>
            <a:ext cx="836428" cy="637379"/>
          </a:xfrm>
          <a:prstGeom prst="rect">
            <a:avLst/>
          </a:prstGeom>
        </p:spPr>
      </p:pic>
      <p:sp>
        <p:nvSpPr>
          <p:cNvPr id="17" name="矩形 16">
            <a:extLst>
              <a:ext uri="{FF2B5EF4-FFF2-40B4-BE49-F238E27FC236}">
                <a16:creationId xmlns="" xmlns:a16="http://schemas.microsoft.com/office/drawing/2014/main" id="{74FFA7F3-40CF-4664-9A63-B3FDD78F0B9F}"/>
              </a:ext>
            </a:extLst>
          </p:cNvPr>
          <p:cNvSpPr/>
          <p:nvPr/>
        </p:nvSpPr>
        <p:spPr>
          <a:xfrm>
            <a:off x="11451264" y="-15626"/>
            <a:ext cx="740735" cy="7098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pic>
        <p:nvPicPr>
          <p:cNvPr id="150" name="图片 149">
            <a:extLst>
              <a:ext uri="{FF2B5EF4-FFF2-40B4-BE49-F238E27FC236}">
                <a16:creationId xmlns="" xmlns:a16="http://schemas.microsoft.com/office/drawing/2014/main" id="{D58783FB-069B-4E41-AEEA-B39F565B742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18" t="7421" r="16791" b="20191"/>
          <a:stretch/>
        </p:blipFill>
        <p:spPr>
          <a:xfrm>
            <a:off x="11544296" y="37007"/>
            <a:ext cx="576822" cy="62515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5" name="文本框 14">
            <a:extLst>
              <a:ext uri="{FF2B5EF4-FFF2-40B4-BE49-F238E27FC236}">
                <a16:creationId xmlns="" xmlns:a16="http://schemas.microsoft.com/office/drawing/2014/main" id="{744E3A90-CE26-4F23-A3FB-01457122B8CF}"/>
              </a:ext>
            </a:extLst>
          </p:cNvPr>
          <p:cNvSpPr txBox="1"/>
          <p:nvPr/>
        </p:nvSpPr>
        <p:spPr>
          <a:xfrm>
            <a:off x="561006" y="1062900"/>
            <a:ext cx="10997795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algn="just">
              <a:lnSpc>
                <a:spcPct val="150000"/>
              </a:lnSpc>
            </a:pPr>
            <a:r>
              <a:rPr lang="zh-CN" altLang="en-US" sz="2000" dirty="0"/>
              <a:t>为进一步满足院部迎新需求，便捷院部开展迎新准备工作，对“易班迎新”系统进行了升级，可实现院部一键分班、分学号、查看学生预报到</a:t>
            </a:r>
            <a:r>
              <a:rPr lang="zh-CN" altLang="en-US" sz="2000" dirty="0" smtClean="0"/>
              <a:t>情况等</a:t>
            </a:r>
            <a:r>
              <a:rPr lang="zh-CN" altLang="en-US" sz="2000" dirty="0"/>
              <a:t>功能。关于迎新系统使用做如下说明：</a:t>
            </a:r>
            <a:endParaRPr lang="en-US" altLang="zh-CN" sz="2000" dirty="0"/>
          </a:p>
          <a:p>
            <a:pPr marL="342900" indent="34290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000" dirty="0">
                <a:latin typeface="微软雅黑" panose="020B0503020204020204" charset="-122"/>
                <a:ea typeface="微软雅黑" panose="020B0503020204020204" charset="-122"/>
              </a:rPr>
              <a:t>新升级的“易班迎新”移动端通过</a:t>
            </a: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学校微信企业号</a:t>
            </a:r>
            <a:r>
              <a:rPr lang="zh-CN" altLang="en-US" sz="2000" dirty="0">
                <a:latin typeface="微软雅黑" panose="020B0503020204020204" charset="-122"/>
                <a:ea typeface="微软雅黑" panose="020B0503020204020204" charset="-122"/>
              </a:rPr>
              <a:t>进行操作，无需另外下载</a:t>
            </a:r>
            <a:r>
              <a:rPr lang="en-US" altLang="zh-CN" sz="2000" dirty="0">
                <a:latin typeface="微软雅黑" panose="020B0503020204020204" charset="-122"/>
                <a:ea typeface="微软雅黑" panose="020B0503020204020204" charset="-122"/>
              </a:rPr>
              <a:t>APP</a:t>
            </a:r>
            <a:r>
              <a:rPr lang="zh-CN" altLang="en-US" sz="2000" dirty="0">
                <a:latin typeface="微软雅黑" panose="020B0503020204020204" charset="-122"/>
                <a:ea typeface="微软雅黑" panose="020B0503020204020204" charset="-122"/>
              </a:rPr>
              <a:t>。</a:t>
            </a:r>
            <a:endParaRPr lang="en-US" altLang="zh-CN" sz="20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342900" indent="34290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000" dirty="0">
                <a:latin typeface="微软雅黑" panose="020B0503020204020204" charset="-122"/>
                <a:ea typeface="微软雅黑" panose="020B0503020204020204" charset="-122"/>
              </a:rPr>
              <a:t>迎新系统运营流程：</a:t>
            </a:r>
            <a:endParaRPr lang="en-US" altLang="zh-CN" sz="20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342900" indent="342900">
              <a:lnSpc>
                <a:spcPct val="150000"/>
              </a:lnSpc>
              <a:buFont typeface="Wingdings" panose="05000000000000000000" pitchFamily="2" charset="2"/>
              <a:buChar char="u"/>
            </a:pPr>
            <a:endParaRPr lang="en-US" altLang="zh-CN" sz="20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342900" indent="342900">
              <a:lnSpc>
                <a:spcPct val="150000"/>
              </a:lnSpc>
              <a:buFont typeface="Wingdings" panose="05000000000000000000" pitchFamily="2" charset="2"/>
              <a:buChar char="u"/>
            </a:pPr>
            <a:endParaRPr lang="en-US" altLang="zh-CN" sz="2000" dirty="0">
              <a:latin typeface="微软雅黑" panose="020B0503020204020204" charset="-122"/>
              <a:ea typeface="微软雅黑" panose="020B0503020204020204" charset="-122"/>
            </a:endParaRPr>
          </a:p>
          <a:p>
            <a:pPr marL="342900" indent="457200">
              <a:lnSpc>
                <a:spcPct val="150000"/>
              </a:lnSpc>
            </a:pPr>
            <a:r>
              <a:rPr lang="zh-CN" altLang="en-US" sz="2000" dirty="0">
                <a:latin typeface="微软雅黑" panose="020B0503020204020204" charset="-122"/>
                <a:ea typeface="微软雅黑" panose="020B0503020204020204" charset="-122"/>
              </a:rPr>
              <a:t>第一、二、四步由学校完成。</a:t>
            </a: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迎新系统</a:t>
            </a:r>
            <a:r>
              <a:rPr lang="en-US" altLang="zh-CN" sz="20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8</a:t>
            </a: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月中旬才对学生</a:t>
            </a:r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开放</a:t>
            </a:r>
            <a:r>
              <a:rPr lang="zh-CN" altLang="en-US" sz="2000" dirty="0" smtClean="0"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，</a:t>
            </a:r>
            <a:r>
              <a:rPr lang="zh-CN" altLang="en-US" sz="2000" dirty="0">
                <a:solidFill>
                  <a:schemeClr val="bg2">
                    <a:lumMod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请辅导员向学生做好解释。</a:t>
            </a:r>
            <a:r>
              <a:rPr lang="zh-CN" altLang="en-US" sz="2000" b="1" dirty="0" smtClean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新生通过资助系统获取学号信息后才能进行</a:t>
            </a:r>
            <a:r>
              <a:rPr lang="zh-CN" altLang="en-US" sz="20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预报到及易班注册认证</a:t>
            </a:r>
            <a:r>
              <a:rPr lang="zh-CN" altLang="en-US" sz="2000" dirty="0">
                <a:solidFill>
                  <a:schemeClr val="bg2">
                    <a:lumMod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。</a:t>
            </a:r>
            <a:endParaRPr lang="en-US" altLang="zh-CN" sz="2000" dirty="0">
              <a:solidFill>
                <a:schemeClr val="bg2">
                  <a:lumMod val="25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Wingdings" panose="05000000000000000000" pitchFamily="2" charset="2"/>
            </a:endParaRPr>
          </a:p>
          <a:p>
            <a:pPr marL="342900" indent="34290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000" dirty="0">
                <a:latin typeface="微软雅黑" panose="020B0503020204020204" charset="-122"/>
                <a:ea typeface="微软雅黑" panose="020B0503020204020204" charset="-122"/>
              </a:rPr>
              <a:t>请新生辅导员老师尽快熟悉操作，并指导学生按步骤完成预报到流程。</a:t>
            </a:r>
            <a:endParaRPr lang="en-US" altLang="zh-CN" sz="2000" dirty="0">
              <a:solidFill>
                <a:schemeClr val="bg2">
                  <a:lumMod val="25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Wingdings" panose="05000000000000000000" pitchFamily="2" charset="2"/>
            </a:endParaRPr>
          </a:p>
          <a:p>
            <a:pPr marL="342900" indent="342900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000" dirty="0">
                <a:solidFill>
                  <a:schemeClr val="bg2">
                    <a:lumMod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使用过程中如有问题请</a:t>
            </a:r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联系胡晓波、张浩</a:t>
            </a:r>
            <a:r>
              <a:rPr lang="zh-CN" altLang="en-US" sz="2000" dirty="0">
                <a:solidFill>
                  <a:schemeClr val="bg2">
                    <a:lumMod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，电话</a:t>
            </a:r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：</a:t>
            </a:r>
            <a:r>
              <a:rPr lang="en-US" altLang="zh-CN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15053276716</a:t>
            </a:r>
            <a:r>
              <a:rPr lang="zh-CN" altLang="en-US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、</a:t>
            </a:r>
            <a:r>
              <a:rPr lang="en-US" altLang="zh-CN" sz="20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15689489571</a:t>
            </a:r>
            <a:r>
              <a:rPr lang="zh-CN" altLang="en-US" sz="2000" dirty="0">
                <a:solidFill>
                  <a:schemeClr val="bg2">
                    <a:lumMod val="2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。</a:t>
            </a:r>
            <a:endParaRPr lang="en-US" altLang="zh-CN" dirty="0">
              <a:solidFill>
                <a:schemeClr val="bg2">
                  <a:lumMod val="25000"/>
                </a:schemeClr>
              </a:solidFill>
              <a:latin typeface="微软雅黑" panose="020B0503020204020204" charset="-122"/>
              <a:ea typeface="微软雅黑" panose="020B0503020204020204" charset="-122"/>
              <a:sym typeface="Wingdings" panose="05000000000000000000" pitchFamily="2" charset="2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="" xmlns:a16="http://schemas.microsoft.com/office/drawing/2014/main" id="{94EFCA19-A085-462B-92E4-5ED39CDE21CB}"/>
              </a:ext>
            </a:extLst>
          </p:cNvPr>
          <p:cNvSpPr txBox="1"/>
          <p:nvPr/>
        </p:nvSpPr>
        <p:spPr>
          <a:xfrm>
            <a:off x="744239" y="210888"/>
            <a:ext cx="28003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迎新应用使用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说明</a:t>
            </a:r>
          </a:p>
        </p:txBody>
      </p:sp>
      <p:grpSp>
        <p:nvGrpSpPr>
          <p:cNvPr id="18" name="组合 17">
            <a:extLst>
              <a:ext uri="{FF2B5EF4-FFF2-40B4-BE49-F238E27FC236}">
                <a16:creationId xmlns="" xmlns:a16="http://schemas.microsoft.com/office/drawing/2014/main" id="{A260E143-B5B8-4F2A-AF7C-D3796A6C3FB2}"/>
              </a:ext>
            </a:extLst>
          </p:cNvPr>
          <p:cNvGrpSpPr/>
          <p:nvPr/>
        </p:nvGrpSpPr>
        <p:grpSpPr>
          <a:xfrm>
            <a:off x="1089560" y="3087612"/>
            <a:ext cx="10091879" cy="655918"/>
            <a:chOff x="980390" y="1619243"/>
            <a:chExt cx="10091879" cy="655918"/>
          </a:xfrm>
        </p:grpSpPr>
        <p:sp>
          <p:nvSpPr>
            <p:cNvPr id="19" name="五边形 11">
              <a:extLst>
                <a:ext uri="{FF2B5EF4-FFF2-40B4-BE49-F238E27FC236}">
                  <a16:creationId xmlns="" xmlns:a16="http://schemas.microsoft.com/office/drawing/2014/main" id="{B97777FE-0908-415C-A3F3-66EB1D16CAC2}"/>
                </a:ext>
              </a:extLst>
            </p:cNvPr>
            <p:cNvSpPr/>
            <p:nvPr/>
          </p:nvSpPr>
          <p:spPr>
            <a:xfrm>
              <a:off x="1022684" y="1619245"/>
              <a:ext cx="1900989" cy="646331"/>
            </a:xfrm>
            <a:prstGeom prst="homePlat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0" name="燕尾形 10">
              <a:extLst>
                <a:ext uri="{FF2B5EF4-FFF2-40B4-BE49-F238E27FC236}">
                  <a16:creationId xmlns="" xmlns:a16="http://schemas.microsoft.com/office/drawing/2014/main" id="{9CFBC124-2ACD-4681-B2FC-1031357917C4}"/>
                </a:ext>
              </a:extLst>
            </p:cNvPr>
            <p:cNvSpPr/>
            <p:nvPr/>
          </p:nvSpPr>
          <p:spPr>
            <a:xfrm>
              <a:off x="2947370" y="1619245"/>
              <a:ext cx="2013453" cy="646331"/>
            </a:xfrm>
            <a:prstGeom prst="chevron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1" name="燕尾形 10">
              <a:extLst>
                <a:ext uri="{FF2B5EF4-FFF2-40B4-BE49-F238E27FC236}">
                  <a16:creationId xmlns="" xmlns:a16="http://schemas.microsoft.com/office/drawing/2014/main" id="{E55E7A58-64CD-4D9E-B8B3-5C1FBBC05945}"/>
                </a:ext>
              </a:extLst>
            </p:cNvPr>
            <p:cNvSpPr/>
            <p:nvPr/>
          </p:nvSpPr>
          <p:spPr>
            <a:xfrm>
              <a:off x="4984519" y="1619245"/>
              <a:ext cx="2013453" cy="646331"/>
            </a:xfrm>
            <a:prstGeom prst="chevron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2" name="燕尾形 10">
              <a:extLst>
                <a:ext uri="{FF2B5EF4-FFF2-40B4-BE49-F238E27FC236}">
                  <a16:creationId xmlns="" xmlns:a16="http://schemas.microsoft.com/office/drawing/2014/main" id="{BCF9B66F-5995-48FA-B02D-9EEF4C9B4783}"/>
                </a:ext>
              </a:extLst>
            </p:cNvPr>
            <p:cNvSpPr/>
            <p:nvPr/>
          </p:nvSpPr>
          <p:spPr>
            <a:xfrm>
              <a:off x="7021668" y="1619245"/>
              <a:ext cx="2013453" cy="646331"/>
            </a:xfrm>
            <a:prstGeom prst="chevron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3" name="燕尾形 10">
              <a:extLst>
                <a:ext uri="{FF2B5EF4-FFF2-40B4-BE49-F238E27FC236}">
                  <a16:creationId xmlns="" xmlns:a16="http://schemas.microsoft.com/office/drawing/2014/main" id="{54DE985B-1C13-4DDB-979A-707E901FB917}"/>
                </a:ext>
              </a:extLst>
            </p:cNvPr>
            <p:cNvSpPr/>
            <p:nvPr/>
          </p:nvSpPr>
          <p:spPr>
            <a:xfrm>
              <a:off x="9058816" y="1619245"/>
              <a:ext cx="2013453" cy="646331"/>
            </a:xfrm>
            <a:prstGeom prst="chevron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4" name="文本框 23">
              <a:extLst>
                <a:ext uri="{FF2B5EF4-FFF2-40B4-BE49-F238E27FC236}">
                  <a16:creationId xmlns="" xmlns:a16="http://schemas.microsoft.com/office/drawing/2014/main" id="{41CAF6E8-C93C-4F57-AA4D-C1CAA799785E}"/>
                </a:ext>
              </a:extLst>
            </p:cNvPr>
            <p:cNvSpPr txBox="1"/>
            <p:nvPr/>
          </p:nvSpPr>
          <p:spPr>
            <a:xfrm>
              <a:off x="980390" y="1742355"/>
              <a:ext cx="1985576" cy="400110"/>
            </a:xfrm>
            <a:prstGeom prst="rect">
              <a:avLst/>
            </a:prstGeom>
            <a:noFill/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2000" b="1" dirty="0">
                  <a:solidFill>
                    <a:schemeClr val="bg1"/>
                  </a:solidFill>
                </a:rPr>
                <a:t>招生数据导入</a:t>
              </a:r>
            </a:p>
          </p:txBody>
        </p:sp>
        <p:sp>
          <p:nvSpPr>
            <p:cNvPr id="25" name="文本框 24">
              <a:extLst>
                <a:ext uri="{FF2B5EF4-FFF2-40B4-BE49-F238E27FC236}">
                  <a16:creationId xmlns="" xmlns:a16="http://schemas.microsoft.com/office/drawing/2014/main" id="{532DE0D2-3DC7-4D99-B61E-5E869B040DF6}"/>
                </a:ext>
              </a:extLst>
            </p:cNvPr>
            <p:cNvSpPr txBox="1"/>
            <p:nvPr/>
          </p:nvSpPr>
          <p:spPr>
            <a:xfrm>
              <a:off x="3186178" y="1619244"/>
              <a:ext cx="1535835" cy="646331"/>
            </a:xfrm>
            <a:prstGeom prst="rect">
              <a:avLst/>
            </a:prstGeom>
            <a:noFill/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b="1" dirty="0">
                  <a:solidFill>
                    <a:schemeClr val="bg1"/>
                  </a:solidFill>
                </a:rPr>
                <a:t>确定理科实验班数据</a:t>
              </a:r>
            </a:p>
          </p:txBody>
        </p:sp>
        <p:sp>
          <p:nvSpPr>
            <p:cNvPr id="26" name="文本框 25">
              <a:extLst>
                <a:ext uri="{FF2B5EF4-FFF2-40B4-BE49-F238E27FC236}">
                  <a16:creationId xmlns="" xmlns:a16="http://schemas.microsoft.com/office/drawing/2014/main" id="{4CB596D7-A599-493F-BDC4-FFC3D9DB67FA}"/>
                </a:ext>
              </a:extLst>
            </p:cNvPr>
            <p:cNvSpPr txBox="1"/>
            <p:nvPr/>
          </p:nvSpPr>
          <p:spPr>
            <a:xfrm>
              <a:off x="5223327" y="1628830"/>
              <a:ext cx="1535835" cy="646331"/>
            </a:xfrm>
            <a:prstGeom prst="rect">
              <a:avLst/>
            </a:prstGeom>
            <a:noFill/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b="1" dirty="0">
                  <a:solidFill>
                    <a:srgbClr val="FFFF00"/>
                  </a:solidFill>
                </a:rPr>
                <a:t>学院分配班级学号</a:t>
              </a:r>
            </a:p>
          </p:txBody>
        </p:sp>
        <p:sp>
          <p:nvSpPr>
            <p:cNvPr id="27" name="文本框 26">
              <a:extLst>
                <a:ext uri="{FF2B5EF4-FFF2-40B4-BE49-F238E27FC236}">
                  <a16:creationId xmlns="" xmlns:a16="http://schemas.microsoft.com/office/drawing/2014/main" id="{34D34E96-3479-4235-974F-0FA7ECE0E56E}"/>
                </a:ext>
              </a:extLst>
            </p:cNvPr>
            <p:cNvSpPr txBox="1"/>
            <p:nvPr/>
          </p:nvSpPr>
          <p:spPr>
            <a:xfrm>
              <a:off x="7275516" y="1632468"/>
              <a:ext cx="1641054" cy="584775"/>
            </a:xfrm>
            <a:prstGeom prst="rect">
              <a:avLst/>
            </a:prstGeom>
            <a:noFill/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1600" b="1" dirty="0">
                  <a:solidFill>
                    <a:schemeClr val="bg1"/>
                  </a:solidFill>
                </a:rPr>
                <a:t>数据导</a:t>
              </a:r>
              <a:r>
                <a:rPr lang="zh-CN" altLang="en-US" sz="1600" b="1" dirty="0" smtClean="0">
                  <a:solidFill>
                    <a:schemeClr val="bg1"/>
                  </a:solidFill>
                </a:rPr>
                <a:t>入资助、教务</a:t>
              </a:r>
              <a:r>
                <a:rPr lang="zh-CN" altLang="en-US" sz="1600" b="1" dirty="0">
                  <a:solidFill>
                    <a:schemeClr val="bg1"/>
                  </a:solidFill>
                </a:rPr>
                <a:t>、易班系统</a:t>
              </a:r>
            </a:p>
          </p:txBody>
        </p:sp>
        <p:sp>
          <p:nvSpPr>
            <p:cNvPr id="29" name="文本框 28">
              <a:extLst>
                <a:ext uri="{FF2B5EF4-FFF2-40B4-BE49-F238E27FC236}">
                  <a16:creationId xmlns="" xmlns:a16="http://schemas.microsoft.com/office/drawing/2014/main" id="{30FBB3DB-A981-4BB6-AF8A-6B65DEFC9678}"/>
                </a:ext>
              </a:extLst>
            </p:cNvPr>
            <p:cNvSpPr txBox="1"/>
            <p:nvPr/>
          </p:nvSpPr>
          <p:spPr>
            <a:xfrm>
              <a:off x="9297626" y="1619243"/>
              <a:ext cx="1641054" cy="646331"/>
            </a:xfrm>
            <a:prstGeom prst="rect">
              <a:avLst/>
            </a:prstGeom>
            <a:noFill/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b="1" dirty="0" smtClean="0">
                  <a:solidFill>
                    <a:srgbClr val="FFFF00"/>
                  </a:solidFill>
                </a:rPr>
                <a:t>新生绑定企业号、注册易班</a:t>
              </a:r>
              <a:endParaRPr lang="en-US" altLang="zh-CN" b="1" dirty="0" smtClean="0">
                <a:solidFill>
                  <a:srgbClr val="FFFF00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915218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椭圆 1">
            <a:extLst>
              <a:ext uri="{FF2B5EF4-FFF2-40B4-BE49-F238E27FC236}">
                <a16:creationId xmlns="" xmlns:a16="http://schemas.microsoft.com/office/drawing/2014/main" id="{D2F4B7BD-B642-4E5C-8E15-3CFA99E49F34}"/>
              </a:ext>
            </a:extLst>
          </p:cNvPr>
          <p:cNvSpPr/>
          <p:nvPr/>
        </p:nvSpPr>
        <p:spPr>
          <a:xfrm>
            <a:off x="511827" y="1821650"/>
            <a:ext cx="1064717" cy="106471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9" name="right-arrowheads_44810">
            <a:extLst>
              <a:ext uri="{FF2B5EF4-FFF2-40B4-BE49-F238E27FC236}">
                <a16:creationId xmlns="" xmlns:a16="http://schemas.microsoft.com/office/drawing/2014/main" id="{E2FB155C-7241-4FAF-BFFF-BE33BAC407CA}"/>
              </a:ext>
            </a:extLst>
          </p:cNvPr>
          <p:cNvSpPr/>
          <p:nvPr/>
        </p:nvSpPr>
        <p:spPr>
          <a:xfrm>
            <a:off x="180755" y="173557"/>
            <a:ext cx="533004" cy="520660"/>
          </a:xfrm>
          <a:custGeom>
            <a:avLst/>
            <a:gdLst>
              <a:gd name="T0" fmla="*/ 59 w 415"/>
              <a:gd name="T1" fmla="*/ 406 h 406"/>
              <a:gd name="T2" fmla="*/ 25 w 415"/>
              <a:gd name="T3" fmla="*/ 394 h 406"/>
              <a:gd name="T4" fmla="*/ 19 w 415"/>
              <a:gd name="T5" fmla="*/ 318 h 406"/>
              <a:gd name="T6" fmla="*/ 114 w 415"/>
              <a:gd name="T7" fmla="*/ 206 h 406"/>
              <a:gd name="T8" fmla="*/ 19 w 415"/>
              <a:gd name="T9" fmla="*/ 94 h 406"/>
              <a:gd name="T10" fmla="*/ 25 w 415"/>
              <a:gd name="T11" fmla="*/ 19 h 406"/>
              <a:gd name="T12" fmla="*/ 100 w 415"/>
              <a:gd name="T13" fmla="*/ 25 h 406"/>
              <a:gd name="T14" fmla="*/ 225 w 415"/>
              <a:gd name="T15" fmla="*/ 172 h 406"/>
              <a:gd name="T16" fmla="*/ 225 w 415"/>
              <a:gd name="T17" fmla="*/ 241 h 406"/>
              <a:gd name="T18" fmla="*/ 100 w 415"/>
              <a:gd name="T19" fmla="*/ 388 h 406"/>
              <a:gd name="T20" fmla="*/ 59 w 415"/>
              <a:gd name="T21" fmla="*/ 406 h 406"/>
              <a:gd name="T22" fmla="*/ 273 w 415"/>
              <a:gd name="T23" fmla="*/ 388 h 406"/>
              <a:gd name="T24" fmla="*/ 398 w 415"/>
              <a:gd name="T25" fmla="*/ 241 h 406"/>
              <a:gd name="T26" fmla="*/ 398 w 415"/>
              <a:gd name="T27" fmla="*/ 172 h 406"/>
              <a:gd name="T28" fmla="*/ 273 w 415"/>
              <a:gd name="T29" fmla="*/ 25 h 406"/>
              <a:gd name="T30" fmla="*/ 198 w 415"/>
              <a:gd name="T31" fmla="*/ 19 h 406"/>
              <a:gd name="T32" fmla="*/ 192 w 415"/>
              <a:gd name="T33" fmla="*/ 94 h 406"/>
              <a:gd name="T34" fmla="*/ 287 w 415"/>
              <a:gd name="T35" fmla="*/ 206 h 406"/>
              <a:gd name="T36" fmla="*/ 192 w 415"/>
              <a:gd name="T37" fmla="*/ 318 h 406"/>
              <a:gd name="T38" fmla="*/ 198 w 415"/>
              <a:gd name="T39" fmla="*/ 394 h 406"/>
              <a:gd name="T40" fmla="*/ 232 w 415"/>
              <a:gd name="T41" fmla="*/ 406 h 406"/>
              <a:gd name="T42" fmla="*/ 273 w 415"/>
              <a:gd name="T43" fmla="*/ 388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5" h="406">
                <a:moveTo>
                  <a:pt x="59" y="406"/>
                </a:moveTo>
                <a:cubicBezTo>
                  <a:pt x="47" y="406"/>
                  <a:pt x="35" y="402"/>
                  <a:pt x="25" y="394"/>
                </a:cubicBezTo>
                <a:cubicBezTo>
                  <a:pt x="2" y="375"/>
                  <a:pt x="0" y="341"/>
                  <a:pt x="19" y="318"/>
                </a:cubicBezTo>
                <a:lnTo>
                  <a:pt x="114" y="206"/>
                </a:lnTo>
                <a:lnTo>
                  <a:pt x="19" y="94"/>
                </a:lnTo>
                <a:cubicBezTo>
                  <a:pt x="0" y="71"/>
                  <a:pt x="2" y="38"/>
                  <a:pt x="25" y="19"/>
                </a:cubicBezTo>
                <a:cubicBezTo>
                  <a:pt x="47" y="0"/>
                  <a:pt x="81" y="2"/>
                  <a:pt x="100" y="25"/>
                </a:cubicBezTo>
                <a:lnTo>
                  <a:pt x="225" y="172"/>
                </a:lnTo>
                <a:cubicBezTo>
                  <a:pt x="242" y="192"/>
                  <a:pt x="242" y="221"/>
                  <a:pt x="225" y="241"/>
                </a:cubicBezTo>
                <a:lnTo>
                  <a:pt x="100" y="388"/>
                </a:lnTo>
                <a:cubicBezTo>
                  <a:pt x="89" y="400"/>
                  <a:pt x="74" y="406"/>
                  <a:pt x="59" y="406"/>
                </a:cubicBezTo>
                <a:close/>
                <a:moveTo>
                  <a:pt x="273" y="388"/>
                </a:moveTo>
                <a:lnTo>
                  <a:pt x="398" y="241"/>
                </a:lnTo>
                <a:cubicBezTo>
                  <a:pt x="415" y="221"/>
                  <a:pt x="415" y="192"/>
                  <a:pt x="398" y="172"/>
                </a:cubicBezTo>
                <a:lnTo>
                  <a:pt x="273" y="25"/>
                </a:lnTo>
                <a:cubicBezTo>
                  <a:pt x="254" y="2"/>
                  <a:pt x="220" y="0"/>
                  <a:pt x="198" y="19"/>
                </a:cubicBezTo>
                <a:cubicBezTo>
                  <a:pt x="175" y="38"/>
                  <a:pt x="173" y="71"/>
                  <a:pt x="192" y="94"/>
                </a:cubicBezTo>
                <a:lnTo>
                  <a:pt x="287" y="206"/>
                </a:lnTo>
                <a:lnTo>
                  <a:pt x="192" y="318"/>
                </a:lnTo>
                <a:cubicBezTo>
                  <a:pt x="173" y="341"/>
                  <a:pt x="175" y="375"/>
                  <a:pt x="198" y="394"/>
                </a:cubicBezTo>
                <a:cubicBezTo>
                  <a:pt x="208" y="402"/>
                  <a:pt x="220" y="406"/>
                  <a:pt x="232" y="406"/>
                </a:cubicBezTo>
                <a:cubicBezTo>
                  <a:pt x="247" y="406"/>
                  <a:pt x="262" y="400"/>
                  <a:pt x="273" y="38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="" xmlns:a16="http://schemas.microsoft.com/office/drawing/2014/main" id="{61D803C0-77CF-4160-8975-8FF535D7147E}"/>
              </a:ext>
            </a:extLst>
          </p:cNvPr>
          <p:cNvCxnSpPr>
            <a:cxnSpLocks/>
          </p:cNvCxnSpPr>
          <p:nvPr/>
        </p:nvCxnSpPr>
        <p:spPr>
          <a:xfrm>
            <a:off x="222402" y="678828"/>
            <a:ext cx="11969598" cy="1562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图片 13">
            <a:extLst>
              <a:ext uri="{FF2B5EF4-FFF2-40B4-BE49-F238E27FC236}">
                <a16:creationId xmlns="" xmlns:a16="http://schemas.microsoft.com/office/drawing/2014/main" id="{56664C41-6ED4-46D6-A99B-448D63A15F3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98"/>
          <a:stretch/>
        </p:blipFill>
        <p:spPr>
          <a:xfrm>
            <a:off x="11355572" y="-15626"/>
            <a:ext cx="836428" cy="637379"/>
          </a:xfrm>
          <a:prstGeom prst="rect">
            <a:avLst/>
          </a:prstGeom>
        </p:spPr>
      </p:pic>
      <p:sp>
        <p:nvSpPr>
          <p:cNvPr id="17" name="矩形 16">
            <a:extLst>
              <a:ext uri="{FF2B5EF4-FFF2-40B4-BE49-F238E27FC236}">
                <a16:creationId xmlns="" xmlns:a16="http://schemas.microsoft.com/office/drawing/2014/main" id="{74FFA7F3-40CF-4664-9A63-B3FDD78F0B9F}"/>
              </a:ext>
            </a:extLst>
          </p:cNvPr>
          <p:cNvSpPr/>
          <p:nvPr/>
        </p:nvSpPr>
        <p:spPr>
          <a:xfrm>
            <a:off x="11451264" y="-15626"/>
            <a:ext cx="740735" cy="7098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pic>
        <p:nvPicPr>
          <p:cNvPr id="150" name="图片 149">
            <a:extLst>
              <a:ext uri="{FF2B5EF4-FFF2-40B4-BE49-F238E27FC236}">
                <a16:creationId xmlns="" xmlns:a16="http://schemas.microsoft.com/office/drawing/2014/main" id="{D58783FB-069B-4E41-AEEA-B39F565B742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18" t="7421" r="16791" b="20191"/>
          <a:stretch/>
        </p:blipFill>
        <p:spPr>
          <a:xfrm>
            <a:off x="11544296" y="37007"/>
            <a:ext cx="576822" cy="62515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文本框 2">
            <a:extLst>
              <a:ext uri="{FF2B5EF4-FFF2-40B4-BE49-F238E27FC236}">
                <a16:creationId xmlns="" xmlns:a16="http://schemas.microsoft.com/office/drawing/2014/main" id="{A7C38575-11C0-4B54-B8A5-F99A0DD5CEE4}"/>
              </a:ext>
            </a:extLst>
          </p:cNvPr>
          <p:cNvSpPr txBox="1"/>
          <p:nvPr/>
        </p:nvSpPr>
        <p:spPr>
          <a:xfrm>
            <a:off x="744239" y="210888"/>
            <a:ext cx="28003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zh-CN" altLang="en-US" sz="2400" b="1" dirty="0">
                <a:solidFill>
                  <a:srgbClr val="000000"/>
                </a:solidFill>
              </a:rPr>
              <a:t>迎新应用使用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说明</a:t>
            </a:r>
          </a:p>
        </p:txBody>
      </p:sp>
      <p:sp>
        <p:nvSpPr>
          <p:cNvPr id="9" name=" 168">
            <a:extLst>
              <a:ext uri="{FF2B5EF4-FFF2-40B4-BE49-F238E27FC236}">
                <a16:creationId xmlns="" xmlns:a16="http://schemas.microsoft.com/office/drawing/2014/main" id="{B5FCA353-FE65-44F4-9E0C-D8DD00816318}"/>
              </a:ext>
            </a:extLst>
          </p:cNvPr>
          <p:cNvSpPr/>
          <p:nvPr/>
        </p:nvSpPr>
        <p:spPr>
          <a:xfrm>
            <a:off x="4664792" y="4480909"/>
            <a:ext cx="2218832" cy="108000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rgbClr val="FFFFFF"/>
                </a:solidFill>
                <a:sym typeface="+mn-ea"/>
              </a:rPr>
              <a:t>扫描新生 </a:t>
            </a:r>
            <a:r>
              <a:rPr lang="zh-CN" altLang="en-US" sz="1600" dirty="0" smtClean="0">
                <a:solidFill>
                  <a:srgbClr val="FFFFFF"/>
                </a:solidFill>
                <a:sym typeface="+mn-ea"/>
              </a:rPr>
              <a:t>移动</a:t>
            </a:r>
            <a:r>
              <a:rPr lang="zh-CN" altLang="en-US" sz="1600" dirty="0">
                <a:solidFill>
                  <a:srgbClr val="FFFFFF"/>
                </a:solidFill>
                <a:sym typeface="+mn-ea"/>
              </a:rPr>
              <a:t>端生成的二维码，一键报到</a:t>
            </a:r>
            <a:endParaRPr lang="zh-CN" altLang="en-US" sz="1600" dirty="0">
              <a:solidFill>
                <a:srgbClr val="FFFFFF"/>
              </a:solidFill>
            </a:endParaRPr>
          </a:p>
        </p:txBody>
      </p:sp>
      <p:sp>
        <p:nvSpPr>
          <p:cNvPr id="10" name=" 168">
            <a:extLst>
              <a:ext uri="{FF2B5EF4-FFF2-40B4-BE49-F238E27FC236}">
                <a16:creationId xmlns="" xmlns:a16="http://schemas.microsoft.com/office/drawing/2014/main" id="{643968FC-AD9A-4B7F-A85C-68310F272A73}"/>
              </a:ext>
            </a:extLst>
          </p:cNvPr>
          <p:cNvSpPr/>
          <p:nvPr/>
        </p:nvSpPr>
        <p:spPr>
          <a:xfrm>
            <a:off x="9948635" y="4480909"/>
            <a:ext cx="1723943" cy="1080000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 smtClean="0">
                <a:solidFill>
                  <a:srgbClr val="FFFFFF"/>
                </a:solidFill>
              </a:rPr>
              <a:t>展示新生</a:t>
            </a:r>
            <a:r>
              <a:rPr lang="zh-CN" altLang="en-US" sz="1600" dirty="0">
                <a:solidFill>
                  <a:srgbClr val="FFFFFF"/>
                </a:solidFill>
              </a:rPr>
              <a:t>报到统计数据和大数据分析报告</a:t>
            </a:r>
          </a:p>
        </p:txBody>
      </p:sp>
      <p:sp>
        <p:nvSpPr>
          <p:cNvPr id="11" name=" 168">
            <a:extLst>
              <a:ext uri="{FF2B5EF4-FFF2-40B4-BE49-F238E27FC236}">
                <a16:creationId xmlns="" xmlns:a16="http://schemas.microsoft.com/office/drawing/2014/main" id="{12AB503D-05D0-46BC-86F8-F7A390268C03}"/>
              </a:ext>
            </a:extLst>
          </p:cNvPr>
          <p:cNvSpPr/>
          <p:nvPr/>
        </p:nvSpPr>
        <p:spPr>
          <a:xfrm>
            <a:off x="7404099" y="4480774"/>
            <a:ext cx="1919463" cy="108013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 smtClean="0">
                <a:solidFill>
                  <a:srgbClr val="FFFFFF"/>
                </a:solidFill>
              </a:rPr>
              <a:t>可随时查看报到情况，需在迎新结束后登记</a:t>
            </a:r>
            <a:r>
              <a:rPr lang="zh-CN" altLang="en-US" sz="1600" dirty="0">
                <a:solidFill>
                  <a:srgbClr val="FFFFFF"/>
                </a:solidFill>
              </a:rPr>
              <a:t>未</a:t>
            </a:r>
            <a:r>
              <a:rPr lang="zh-CN" altLang="en-US" sz="1600" dirty="0" smtClean="0">
                <a:solidFill>
                  <a:srgbClr val="FFFFFF"/>
                </a:solidFill>
              </a:rPr>
              <a:t>报到情况</a:t>
            </a:r>
            <a:endParaRPr lang="zh-CN" altLang="en-US" sz="1600" dirty="0">
              <a:solidFill>
                <a:srgbClr val="FFFFFF"/>
              </a:solidFill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="" xmlns:a16="http://schemas.microsoft.com/office/drawing/2014/main" id="{ABF07CCE-28DB-48CD-9941-F83C8D939329}"/>
              </a:ext>
            </a:extLst>
          </p:cNvPr>
          <p:cNvSpPr txBox="1"/>
          <p:nvPr/>
        </p:nvSpPr>
        <p:spPr>
          <a:xfrm>
            <a:off x="10110444" y="3973645"/>
            <a:ext cx="14003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b="1" dirty="0"/>
              <a:t>学校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="" xmlns:a16="http://schemas.microsoft.com/office/drawing/2014/main" id="{5D1D1402-02F8-4535-AB82-EF5301FA8106}"/>
              </a:ext>
            </a:extLst>
          </p:cNvPr>
          <p:cNvSpPr txBox="1"/>
          <p:nvPr/>
        </p:nvSpPr>
        <p:spPr>
          <a:xfrm>
            <a:off x="7501215" y="3973645"/>
            <a:ext cx="17252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b="1" dirty="0"/>
              <a:t>院部</a:t>
            </a:r>
          </a:p>
        </p:txBody>
      </p:sp>
      <p:sp>
        <p:nvSpPr>
          <p:cNvPr id="16" name=" 168">
            <a:extLst>
              <a:ext uri="{FF2B5EF4-FFF2-40B4-BE49-F238E27FC236}">
                <a16:creationId xmlns="" xmlns:a16="http://schemas.microsoft.com/office/drawing/2014/main" id="{ABBF2999-80AD-41C5-A3D7-EF5DCE3851B9}"/>
              </a:ext>
            </a:extLst>
          </p:cNvPr>
          <p:cNvSpPr/>
          <p:nvPr/>
        </p:nvSpPr>
        <p:spPr>
          <a:xfrm>
            <a:off x="2013086" y="4480774"/>
            <a:ext cx="2214001" cy="108013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 smtClean="0">
                <a:solidFill>
                  <a:srgbClr val="FFFFFF"/>
                </a:solidFill>
              </a:rPr>
              <a:t>新生学校微信企业号“易班迎新”应用中找到报到</a:t>
            </a:r>
            <a:r>
              <a:rPr lang="zh-CN" altLang="en-US" sz="1600" dirty="0">
                <a:solidFill>
                  <a:srgbClr val="FFFFFF"/>
                </a:solidFill>
              </a:rPr>
              <a:t>二维码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="" xmlns:a16="http://schemas.microsoft.com/office/drawing/2014/main" id="{3E6E2C91-E20F-433F-89A5-4C97ABAD53B7}"/>
              </a:ext>
            </a:extLst>
          </p:cNvPr>
          <p:cNvSpPr txBox="1"/>
          <p:nvPr/>
        </p:nvSpPr>
        <p:spPr>
          <a:xfrm>
            <a:off x="2605773" y="3973645"/>
            <a:ext cx="9388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b="1" dirty="0"/>
              <a:t>新生</a:t>
            </a:r>
          </a:p>
        </p:txBody>
      </p:sp>
      <p:sp>
        <p:nvSpPr>
          <p:cNvPr id="19" name=" 221">
            <a:extLst>
              <a:ext uri="{FF2B5EF4-FFF2-40B4-BE49-F238E27FC236}">
                <a16:creationId xmlns="" xmlns:a16="http://schemas.microsoft.com/office/drawing/2014/main" id="{E401C959-4D51-4240-B7AD-906DAC881524}"/>
              </a:ext>
            </a:extLst>
          </p:cNvPr>
          <p:cNvSpPr/>
          <p:nvPr/>
        </p:nvSpPr>
        <p:spPr>
          <a:xfrm rot="5400000">
            <a:off x="4244954" y="4843424"/>
            <a:ext cx="287655" cy="288290"/>
          </a:xfrm>
          <a:custGeom>
            <a:avLst/>
            <a:gdLst/>
            <a:ahLst/>
            <a:cxnLst/>
            <a:rect l="l" t="t" r="r" b="b"/>
            <a:pathLst>
              <a:path w="751403" h="647761">
                <a:moveTo>
                  <a:pt x="375702" y="0"/>
                </a:moveTo>
                <a:lnTo>
                  <a:pt x="751403" y="647761"/>
                </a:lnTo>
                <a:lnTo>
                  <a:pt x="745416" y="647761"/>
                </a:lnTo>
                <a:lnTo>
                  <a:pt x="375702" y="432047"/>
                </a:lnTo>
                <a:lnTo>
                  <a:pt x="5987" y="647761"/>
                </a:lnTo>
                <a:lnTo>
                  <a:pt x="0" y="647761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>
              <a:solidFill>
                <a:srgbClr val="FFFFFF"/>
              </a:solidFill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="" xmlns:a16="http://schemas.microsoft.com/office/drawing/2014/main" id="{8FAEF6EF-EACF-4E2D-9531-BF4C54D9986C}"/>
              </a:ext>
            </a:extLst>
          </p:cNvPr>
          <p:cNvSpPr txBox="1"/>
          <p:nvPr/>
        </p:nvSpPr>
        <p:spPr>
          <a:xfrm>
            <a:off x="4588138" y="3973645"/>
            <a:ext cx="24710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b="1" dirty="0" smtClean="0"/>
              <a:t>院部现场迎新</a:t>
            </a:r>
            <a:r>
              <a:rPr lang="zh-CN" altLang="en-US" sz="2000" b="1" dirty="0"/>
              <a:t>负责人</a:t>
            </a:r>
          </a:p>
        </p:txBody>
      </p:sp>
      <p:sp>
        <p:nvSpPr>
          <p:cNvPr id="21" name=" 221">
            <a:extLst>
              <a:ext uri="{FF2B5EF4-FFF2-40B4-BE49-F238E27FC236}">
                <a16:creationId xmlns="" xmlns:a16="http://schemas.microsoft.com/office/drawing/2014/main" id="{530732F8-2516-45D0-A7ED-798AF3D15DDF}"/>
              </a:ext>
            </a:extLst>
          </p:cNvPr>
          <p:cNvSpPr/>
          <p:nvPr/>
        </p:nvSpPr>
        <p:spPr>
          <a:xfrm rot="5400000">
            <a:off x="9493300" y="4843425"/>
            <a:ext cx="287655" cy="288290"/>
          </a:xfrm>
          <a:custGeom>
            <a:avLst/>
            <a:gdLst/>
            <a:ahLst/>
            <a:cxnLst/>
            <a:rect l="l" t="t" r="r" b="b"/>
            <a:pathLst>
              <a:path w="751403" h="647761">
                <a:moveTo>
                  <a:pt x="375702" y="0"/>
                </a:moveTo>
                <a:lnTo>
                  <a:pt x="751403" y="647761"/>
                </a:lnTo>
                <a:lnTo>
                  <a:pt x="745416" y="647761"/>
                </a:lnTo>
                <a:lnTo>
                  <a:pt x="375702" y="432047"/>
                </a:lnTo>
                <a:lnTo>
                  <a:pt x="5987" y="647761"/>
                </a:lnTo>
                <a:lnTo>
                  <a:pt x="0" y="647761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>
              <a:solidFill>
                <a:srgbClr val="FFFFFF"/>
              </a:solidFill>
            </a:endParaRPr>
          </a:p>
        </p:txBody>
      </p:sp>
      <p:sp>
        <p:nvSpPr>
          <p:cNvPr id="22" name=" 221">
            <a:extLst>
              <a:ext uri="{FF2B5EF4-FFF2-40B4-BE49-F238E27FC236}">
                <a16:creationId xmlns="" xmlns:a16="http://schemas.microsoft.com/office/drawing/2014/main" id="{6A4D3481-D184-4242-BA63-F544E076B100}"/>
              </a:ext>
            </a:extLst>
          </p:cNvPr>
          <p:cNvSpPr/>
          <p:nvPr/>
        </p:nvSpPr>
        <p:spPr>
          <a:xfrm rot="5400000">
            <a:off x="6973970" y="4876696"/>
            <a:ext cx="287655" cy="288290"/>
          </a:xfrm>
          <a:custGeom>
            <a:avLst/>
            <a:gdLst/>
            <a:ahLst/>
            <a:cxnLst/>
            <a:rect l="l" t="t" r="r" b="b"/>
            <a:pathLst>
              <a:path w="751403" h="647761">
                <a:moveTo>
                  <a:pt x="375702" y="0"/>
                </a:moveTo>
                <a:lnTo>
                  <a:pt x="751403" y="647761"/>
                </a:lnTo>
                <a:lnTo>
                  <a:pt x="745416" y="647761"/>
                </a:lnTo>
                <a:lnTo>
                  <a:pt x="375702" y="432047"/>
                </a:lnTo>
                <a:lnTo>
                  <a:pt x="5987" y="647761"/>
                </a:lnTo>
                <a:lnTo>
                  <a:pt x="0" y="647761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>
              <a:solidFill>
                <a:srgbClr val="FFFFFF"/>
              </a:solidFill>
            </a:endParaRPr>
          </a:p>
        </p:txBody>
      </p:sp>
      <p:sp>
        <p:nvSpPr>
          <p:cNvPr id="23" name=" 168">
            <a:extLst>
              <a:ext uri="{FF2B5EF4-FFF2-40B4-BE49-F238E27FC236}">
                <a16:creationId xmlns="" xmlns:a16="http://schemas.microsoft.com/office/drawing/2014/main" id="{9660AAB5-ED2B-4496-AE1E-67DDB8053D65}"/>
              </a:ext>
            </a:extLst>
          </p:cNvPr>
          <p:cNvSpPr/>
          <p:nvPr/>
        </p:nvSpPr>
        <p:spPr>
          <a:xfrm>
            <a:off x="4664792" y="1871960"/>
            <a:ext cx="2218832" cy="1080000"/>
          </a:xfrm>
          <a:prstGeom prst="round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rgbClr val="FFFFFF"/>
                </a:solidFill>
              </a:rPr>
              <a:t>完成</a:t>
            </a:r>
            <a:r>
              <a:rPr lang="zh-CN" altLang="zh-CN" sz="1600" dirty="0">
                <a:solidFill>
                  <a:srgbClr val="FFFFFF"/>
                </a:solidFill>
              </a:rPr>
              <a:t>个人信息</a:t>
            </a:r>
            <a:r>
              <a:rPr lang="zh-CN" altLang="en-US" sz="1600" dirty="0">
                <a:solidFill>
                  <a:srgbClr val="FFFFFF"/>
                </a:solidFill>
              </a:rPr>
              <a:t>采集、到站登记等</a:t>
            </a:r>
          </a:p>
        </p:txBody>
      </p:sp>
      <p:sp>
        <p:nvSpPr>
          <p:cNvPr id="24" name=" 168">
            <a:extLst>
              <a:ext uri="{FF2B5EF4-FFF2-40B4-BE49-F238E27FC236}">
                <a16:creationId xmlns="" xmlns:a16="http://schemas.microsoft.com/office/drawing/2014/main" id="{2E07B44F-2279-4534-8A6D-1E0A879E6AB1}"/>
              </a:ext>
            </a:extLst>
          </p:cNvPr>
          <p:cNvSpPr/>
          <p:nvPr/>
        </p:nvSpPr>
        <p:spPr>
          <a:xfrm>
            <a:off x="7404099" y="1871825"/>
            <a:ext cx="2188475" cy="108013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 smtClean="0">
                <a:solidFill>
                  <a:srgbClr val="FFFFFF"/>
                </a:solidFill>
              </a:rPr>
              <a:t>根据预报到数据</a:t>
            </a:r>
            <a:r>
              <a:rPr lang="zh-CN" altLang="en-US" sz="1600" dirty="0">
                <a:solidFill>
                  <a:srgbClr val="FFFFFF"/>
                </a:solidFill>
              </a:rPr>
              <a:t>统计做好迎新准备工作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="" xmlns:a16="http://schemas.microsoft.com/office/drawing/2014/main" id="{5F2B4782-DB6B-4BFB-9996-078FCF252C75}"/>
              </a:ext>
            </a:extLst>
          </p:cNvPr>
          <p:cNvSpPr txBox="1"/>
          <p:nvPr/>
        </p:nvSpPr>
        <p:spPr>
          <a:xfrm>
            <a:off x="7397173" y="1381982"/>
            <a:ext cx="19333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b="1" dirty="0" smtClean="0"/>
              <a:t>学校、学院</a:t>
            </a:r>
            <a:endParaRPr lang="zh-CN" altLang="en-US" sz="2000" b="1" dirty="0"/>
          </a:p>
        </p:txBody>
      </p:sp>
      <p:sp>
        <p:nvSpPr>
          <p:cNvPr id="26" name=" 168">
            <a:extLst>
              <a:ext uri="{FF2B5EF4-FFF2-40B4-BE49-F238E27FC236}">
                <a16:creationId xmlns="" xmlns:a16="http://schemas.microsoft.com/office/drawing/2014/main" id="{9D75D723-9872-4354-929D-F2B7B80C5D82}"/>
              </a:ext>
            </a:extLst>
          </p:cNvPr>
          <p:cNvSpPr/>
          <p:nvPr/>
        </p:nvSpPr>
        <p:spPr>
          <a:xfrm>
            <a:off x="2114048" y="1871825"/>
            <a:ext cx="1919463" cy="1080135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threePt" dir="t"/>
            </a:scene3d>
            <a:sp3d>
              <a:contourClr>
                <a:srgbClr val="FFFFFF"/>
              </a:contourClr>
            </a:sp3d>
          </a:bodyPr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rgbClr val="FFFFFF"/>
                </a:solidFill>
                <a:sym typeface="+mn-ea"/>
              </a:rPr>
              <a:t>系统内完成</a:t>
            </a:r>
            <a:endParaRPr lang="en-US" altLang="zh-CN" sz="1600" dirty="0">
              <a:solidFill>
                <a:srgbClr val="FFFFFF"/>
              </a:solidFill>
              <a:sym typeface="+mn-ea"/>
            </a:endParaRPr>
          </a:p>
          <a:p>
            <a:pPr algn="ctr" eaLnBrk="1" fontAlgn="auto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rgbClr val="FFFFFF"/>
                </a:solidFill>
                <a:sym typeface="+mn-ea"/>
              </a:rPr>
              <a:t>班级、学号分配</a:t>
            </a:r>
            <a:endParaRPr lang="zh-CN" altLang="en-US" sz="1600" dirty="0">
              <a:solidFill>
                <a:srgbClr val="FFFFFF"/>
              </a:solidFill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="" xmlns:a16="http://schemas.microsoft.com/office/drawing/2014/main" id="{A84301A2-4405-4632-A4D1-22F223FD56C1}"/>
              </a:ext>
            </a:extLst>
          </p:cNvPr>
          <p:cNvSpPr txBox="1"/>
          <p:nvPr/>
        </p:nvSpPr>
        <p:spPr>
          <a:xfrm>
            <a:off x="2359910" y="1381982"/>
            <a:ext cx="14277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b="1" dirty="0"/>
              <a:t>各院部</a:t>
            </a:r>
          </a:p>
        </p:txBody>
      </p:sp>
      <p:sp>
        <p:nvSpPr>
          <p:cNvPr id="28" name=" 221">
            <a:extLst>
              <a:ext uri="{FF2B5EF4-FFF2-40B4-BE49-F238E27FC236}">
                <a16:creationId xmlns="" xmlns:a16="http://schemas.microsoft.com/office/drawing/2014/main" id="{1B98F186-BCF5-4893-864F-0824A1B5C328}"/>
              </a:ext>
            </a:extLst>
          </p:cNvPr>
          <p:cNvSpPr/>
          <p:nvPr/>
        </p:nvSpPr>
        <p:spPr>
          <a:xfrm rot="5400000">
            <a:off x="4244954" y="2234475"/>
            <a:ext cx="287655" cy="288290"/>
          </a:xfrm>
          <a:custGeom>
            <a:avLst/>
            <a:gdLst/>
            <a:ahLst/>
            <a:cxnLst/>
            <a:rect l="l" t="t" r="r" b="b"/>
            <a:pathLst>
              <a:path w="751403" h="647761">
                <a:moveTo>
                  <a:pt x="375702" y="0"/>
                </a:moveTo>
                <a:lnTo>
                  <a:pt x="751403" y="647761"/>
                </a:lnTo>
                <a:lnTo>
                  <a:pt x="745416" y="647761"/>
                </a:lnTo>
                <a:lnTo>
                  <a:pt x="375702" y="432047"/>
                </a:lnTo>
                <a:lnTo>
                  <a:pt x="5987" y="647761"/>
                </a:lnTo>
                <a:lnTo>
                  <a:pt x="0" y="647761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>
              <a:solidFill>
                <a:srgbClr val="FFFFFF"/>
              </a:solidFill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="" xmlns:a16="http://schemas.microsoft.com/office/drawing/2014/main" id="{7C54E3C5-4189-4B24-A40D-6F01FB95A140}"/>
              </a:ext>
            </a:extLst>
          </p:cNvPr>
          <p:cNvSpPr txBox="1"/>
          <p:nvPr/>
        </p:nvSpPr>
        <p:spPr>
          <a:xfrm>
            <a:off x="5239880" y="1381982"/>
            <a:ext cx="10379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b="1" dirty="0"/>
              <a:t>新生</a:t>
            </a:r>
          </a:p>
        </p:txBody>
      </p:sp>
      <p:sp>
        <p:nvSpPr>
          <p:cNvPr id="30" name=" 221">
            <a:extLst>
              <a:ext uri="{FF2B5EF4-FFF2-40B4-BE49-F238E27FC236}">
                <a16:creationId xmlns="" xmlns:a16="http://schemas.microsoft.com/office/drawing/2014/main" id="{57A81904-8A0D-494E-8C11-3B8EE8D0974E}"/>
              </a:ext>
            </a:extLst>
          </p:cNvPr>
          <p:cNvSpPr/>
          <p:nvPr/>
        </p:nvSpPr>
        <p:spPr>
          <a:xfrm rot="5400000">
            <a:off x="6973970" y="2267747"/>
            <a:ext cx="287655" cy="288290"/>
          </a:xfrm>
          <a:custGeom>
            <a:avLst/>
            <a:gdLst/>
            <a:ahLst/>
            <a:cxnLst/>
            <a:rect l="l" t="t" r="r" b="b"/>
            <a:pathLst>
              <a:path w="751403" h="647761">
                <a:moveTo>
                  <a:pt x="375702" y="0"/>
                </a:moveTo>
                <a:lnTo>
                  <a:pt x="751403" y="647761"/>
                </a:lnTo>
                <a:lnTo>
                  <a:pt x="745416" y="647761"/>
                </a:lnTo>
                <a:lnTo>
                  <a:pt x="375702" y="432047"/>
                </a:lnTo>
                <a:lnTo>
                  <a:pt x="5987" y="647761"/>
                </a:lnTo>
                <a:lnTo>
                  <a:pt x="0" y="647761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zh-CN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CN" altLang="en-US" sz="1600">
              <a:solidFill>
                <a:srgbClr val="FFFFFF"/>
              </a:solidFill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="" xmlns:a16="http://schemas.microsoft.com/office/drawing/2014/main" id="{6ACE4A17-46D6-4F33-BB16-0281C20645C9}"/>
              </a:ext>
            </a:extLst>
          </p:cNvPr>
          <p:cNvSpPr txBox="1"/>
          <p:nvPr/>
        </p:nvSpPr>
        <p:spPr>
          <a:xfrm>
            <a:off x="521352" y="2160168"/>
            <a:ext cx="1045665" cy="400110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zh-CN" altLang="en-US" sz="2000" b="1" dirty="0">
                <a:solidFill>
                  <a:schemeClr val="bg1"/>
                </a:solidFill>
                <a:latin typeface="+mn-ea"/>
              </a:rPr>
              <a:t>预报到</a:t>
            </a:r>
          </a:p>
        </p:txBody>
      </p:sp>
      <p:sp>
        <p:nvSpPr>
          <p:cNvPr id="32" name="箭头: 右 31">
            <a:extLst>
              <a:ext uri="{FF2B5EF4-FFF2-40B4-BE49-F238E27FC236}">
                <a16:creationId xmlns="" xmlns:a16="http://schemas.microsoft.com/office/drawing/2014/main" id="{5690318C-09C5-467B-9654-20D0A2114BD0}"/>
              </a:ext>
            </a:extLst>
          </p:cNvPr>
          <p:cNvSpPr/>
          <p:nvPr/>
        </p:nvSpPr>
        <p:spPr>
          <a:xfrm>
            <a:off x="1705118" y="2245286"/>
            <a:ext cx="307968" cy="2550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箭头: 右 33">
            <a:extLst>
              <a:ext uri="{FF2B5EF4-FFF2-40B4-BE49-F238E27FC236}">
                <a16:creationId xmlns="" xmlns:a16="http://schemas.microsoft.com/office/drawing/2014/main" id="{DAD9F9D2-5022-40B9-88EC-80AAF5E54150}"/>
              </a:ext>
            </a:extLst>
          </p:cNvPr>
          <p:cNvSpPr/>
          <p:nvPr/>
        </p:nvSpPr>
        <p:spPr>
          <a:xfrm>
            <a:off x="1705118" y="4843741"/>
            <a:ext cx="307968" cy="25508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" name="组合 3">
            <a:extLst>
              <a:ext uri="{FF2B5EF4-FFF2-40B4-BE49-F238E27FC236}">
                <a16:creationId xmlns="" xmlns:a16="http://schemas.microsoft.com/office/drawing/2014/main" id="{42F68894-D239-49DA-9160-220B1983B56D}"/>
              </a:ext>
            </a:extLst>
          </p:cNvPr>
          <p:cNvGrpSpPr/>
          <p:nvPr/>
        </p:nvGrpSpPr>
        <p:grpSpPr>
          <a:xfrm>
            <a:off x="510664" y="4438363"/>
            <a:ext cx="1064717" cy="1064717"/>
            <a:chOff x="682933" y="3326939"/>
            <a:chExt cx="1064717" cy="1064717"/>
          </a:xfrm>
        </p:grpSpPr>
        <p:sp>
          <p:nvSpPr>
            <p:cNvPr id="35" name="椭圆 34">
              <a:extLst>
                <a:ext uri="{FF2B5EF4-FFF2-40B4-BE49-F238E27FC236}">
                  <a16:creationId xmlns="" xmlns:a16="http://schemas.microsoft.com/office/drawing/2014/main" id="{716E01BC-1783-4279-9E69-56772AF2ADBD}"/>
                </a:ext>
              </a:extLst>
            </p:cNvPr>
            <p:cNvSpPr/>
            <p:nvPr/>
          </p:nvSpPr>
          <p:spPr>
            <a:xfrm>
              <a:off x="682933" y="3326939"/>
              <a:ext cx="1064717" cy="1064717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6" name="文本框 35">
              <a:extLst>
                <a:ext uri="{FF2B5EF4-FFF2-40B4-BE49-F238E27FC236}">
                  <a16:creationId xmlns="" xmlns:a16="http://schemas.microsoft.com/office/drawing/2014/main" id="{8AC0ABBF-F321-4279-B7D8-739014A00EAB}"/>
                </a:ext>
              </a:extLst>
            </p:cNvPr>
            <p:cNvSpPr txBox="1"/>
            <p:nvPr/>
          </p:nvSpPr>
          <p:spPr>
            <a:xfrm>
              <a:off x="815568" y="3459444"/>
              <a:ext cx="799445" cy="799706"/>
            </a:xfrm>
            <a:prstGeom prst="rect">
              <a:avLst/>
            </a:prstGeom>
            <a:noFill/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zh-CN" altLang="en-US" sz="2000" b="1" dirty="0">
                  <a:solidFill>
                    <a:schemeClr val="bg1"/>
                  </a:solidFill>
                  <a:latin typeface="+mn-ea"/>
                </a:rPr>
                <a:t>迎新期间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895939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矩形: 圆角 39">
            <a:extLst>
              <a:ext uri="{FF2B5EF4-FFF2-40B4-BE49-F238E27FC236}">
                <a16:creationId xmlns="" xmlns:a16="http://schemas.microsoft.com/office/drawing/2014/main" id="{6F26DA1F-B793-47E6-91B3-D5F489F0F323}"/>
              </a:ext>
            </a:extLst>
          </p:cNvPr>
          <p:cNvSpPr/>
          <p:nvPr/>
        </p:nvSpPr>
        <p:spPr>
          <a:xfrm>
            <a:off x="558800" y="1676401"/>
            <a:ext cx="3947160" cy="4032749"/>
          </a:xfrm>
          <a:prstGeom prst="roundRect">
            <a:avLst>
              <a:gd name="adj" fmla="val 512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9" name="right-arrowheads_44810">
            <a:extLst>
              <a:ext uri="{FF2B5EF4-FFF2-40B4-BE49-F238E27FC236}">
                <a16:creationId xmlns="" xmlns:a16="http://schemas.microsoft.com/office/drawing/2014/main" id="{E2FB155C-7241-4FAF-BFFF-BE33BAC407CA}"/>
              </a:ext>
            </a:extLst>
          </p:cNvPr>
          <p:cNvSpPr/>
          <p:nvPr/>
        </p:nvSpPr>
        <p:spPr>
          <a:xfrm>
            <a:off x="180755" y="173557"/>
            <a:ext cx="533004" cy="520660"/>
          </a:xfrm>
          <a:custGeom>
            <a:avLst/>
            <a:gdLst>
              <a:gd name="T0" fmla="*/ 59 w 415"/>
              <a:gd name="T1" fmla="*/ 406 h 406"/>
              <a:gd name="T2" fmla="*/ 25 w 415"/>
              <a:gd name="T3" fmla="*/ 394 h 406"/>
              <a:gd name="T4" fmla="*/ 19 w 415"/>
              <a:gd name="T5" fmla="*/ 318 h 406"/>
              <a:gd name="T6" fmla="*/ 114 w 415"/>
              <a:gd name="T7" fmla="*/ 206 h 406"/>
              <a:gd name="T8" fmla="*/ 19 w 415"/>
              <a:gd name="T9" fmla="*/ 94 h 406"/>
              <a:gd name="T10" fmla="*/ 25 w 415"/>
              <a:gd name="T11" fmla="*/ 19 h 406"/>
              <a:gd name="T12" fmla="*/ 100 w 415"/>
              <a:gd name="T13" fmla="*/ 25 h 406"/>
              <a:gd name="T14" fmla="*/ 225 w 415"/>
              <a:gd name="T15" fmla="*/ 172 h 406"/>
              <a:gd name="T16" fmla="*/ 225 w 415"/>
              <a:gd name="T17" fmla="*/ 241 h 406"/>
              <a:gd name="T18" fmla="*/ 100 w 415"/>
              <a:gd name="T19" fmla="*/ 388 h 406"/>
              <a:gd name="T20" fmla="*/ 59 w 415"/>
              <a:gd name="T21" fmla="*/ 406 h 406"/>
              <a:gd name="T22" fmla="*/ 273 w 415"/>
              <a:gd name="T23" fmla="*/ 388 h 406"/>
              <a:gd name="T24" fmla="*/ 398 w 415"/>
              <a:gd name="T25" fmla="*/ 241 h 406"/>
              <a:gd name="T26" fmla="*/ 398 w 415"/>
              <a:gd name="T27" fmla="*/ 172 h 406"/>
              <a:gd name="T28" fmla="*/ 273 w 415"/>
              <a:gd name="T29" fmla="*/ 25 h 406"/>
              <a:gd name="T30" fmla="*/ 198 w 415"/>
              <a:gd name="T31" fmla="*/ 19 h 406"/>
              <a:gd name="T32" fmla="*/ 192 w 415"/>
              <a:gd name="T33" fmla="*/ 94 h 406"/>
              <a:gd name="T34" fmla="*/ 287 w 415"/>
              <a:gd name="T35" fmla="*/ 206 h 406"/>
              <a:gd name="T36" fmla="*/ 192 w 415"/>
              <a:gd name="T37" fmla="*/ 318 h 406"/>
              <a:gd name="T38" fmla="*/ 198 w 415"/>
              <a:gd name="T39" fmla="*/ 394 h 406"/>
              <a:gd name="T40" fmla="*/ 232 w 415"/>
              <a:gd name="T41" fmla="*/ 406 h 406"/>
              <a:gd name="T42" fmla="*/ 273 w 415"/>
              <a:gd name="T43" fmla="*/ 388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5" h="406">
                <a:moveTo>
                  <a:pt x="59" y="406"/>
                </a:moveTo>
                <a:cubicBezTo>
                  <a:pt x="47" y="406"/>
                  <a:pt x="35" y="402"/>
                  <a:pt x="25" y="394"/>
                </a:cubicBezTo>
                <a:cubicBezTo>
                  <a:pt x="2" y="375"/>
                  <a:pt x="0" y="341"/>
                  <a:pt x="19" y="318"/>
                </a:cubicBezTo>
                <a:lnTo>
                  <a:pt x="114" y="206"/>
                </a:lnTo>
                <a:lnTo>
                  <a:pt x="19" y="94"/>
                </a:lnTo>
                <a:cubicBezTo>
                  <a:pt x="0" y="71"/>
                  <a:pt x="2" y="38"/>
                  <a:pt x="25" y="19"/>
                </a:cubicBezTo>
                <a:cubicBezTo>
                  <a:pt x="47" y="0"/>
                  <a:pt x="81" y="2"/>
                  <a:pt x="100" y="25"/>
                </a:cubicBezTo>
                <a:lnTo>
                  <a:pt x="225" y="172"/>
                </a:lnTo>
                <a:cubicBezTo>
                  <a:pt x="242" y="192"/>
                  <a:pt x="242" y="221"/>
                  <a:pt x="225" y="241"/>
                </a:cubicBezTo>
                <a:lnTo>
                  <a:pt x="100" y="388"/>
                </a:lnTo>
                <a:cubicBezTo>
                  <a:pt x="89" y="400"/>
                  <a:pt x="74" y="406"/>
                  <a:pt x="59" y="406"/>
                </a:cubicBezTo>
                <a:close/>
                <a:moveTo>
                  <a:pt x="273" y="388"/>
                </a:moveTo>
                <a:lnTo>
                  <a:pt x="398" y="241"/>
                </a:lnTo>
                <a:cubicBezTo>
                  <a:pt x="415" y="221"/>
                  <a:pt x="415" y="192"/>
                  <a:pt x="398" y="172"/>
                </a:cubicBezTo>
                <a:lnTo>
                  <a:pt x="273" y="25"/>
                </a:lnTo>
                <a:cubicBezTo>
                  <a:pt x="254" y="2"/>
                  <a:pt x="220" y="0"/>
                  <a:pt x="198" y="19"/>
                </a:cubicBezTo>
                <a:cubicBezTo>
                  <a:pt x="175" y="38"/>
                  <a:pt x="173" y="71"/>
                  <a:pt x="192" y="94"/>
                </a:cubicBezTo>
                <a:lnTo>
                  <a:pt x="287" y="206"/>
                </a:lnTo>
                <a:lnTo>
                  <a:pt x="192" y="318"/>
                </a:lnTo>
                <a:cubicBezTo>
                  <a:pt x="173" y="341"/>
                  <a:pt x="175" y="375"/>
                  <a:pt x="198" y="394"/>
                </a:cubicBezTo>
                <a:cubicBezTo>
                  <a:pt x="208" y="402"/>
                  <a:pt x="220" y="406"/>
                  <a:pt x="232" y="406"/>
                </a:cubicBezTo>
                <a:cubicBezTo>
                  <a:pt x="247" y="406"/>
                  <a:pt x="262" y="400"/>
                  <a:pt x="273" y="38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="" xmlns:a16="http://schemas.microsoft.com/office/drawing/2014/main" id="{61D803C0-77CF-4160-8975-8FF535D7147E}"/>
              </a:ext>
            </a:extLst>
          </p:cNvPr>
          <p:cNvCxnSpPr>
            <a:cxnSpLocks/>
          </p:cNvCxnSpPr>
          <p:nvPr/>
        </p:nvCxnSpPr>
        <p:spPr>
          <a:xfrm>
            <a:off x="222402" y="678828"/>
            <a:ext cx="11969598" cy="1562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图片 13">
            <a:extLst>
              <a:ext uri="{FF2B5EF4-FFF2-40B4-BE49-F238E27FC236}">
                <a16:creationId xmlns="" xmlns:a16="http://schemas.microsoft.com/office/drawing/2014/main" id="{56664C41-6ED4-46D6-A99B-448D63A15F3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98"/>
          <a:stretch/>
        </p:blipFill>
        <p:spPr>
          <a:xfrm>
            <a:off x="11355572" y="-15626"/>
            <a:ext cx="836428" cy="637379"/>
          </a:xfrm>
          <a:prstGeom prst="rect">
            <a:avLst/>
          </a:prstGeom>
        </p:spPr>
      </p:pic>
      <p:sp>
        <p:nvSpPr>
          <p:cNvPr id="17" name="矩形 16">
            <a:extLst>
              <a:ext uri="{FF2B5EF4-FFF2-40B4-BE49-F238E27FC236}">
                <a16:creationId xmlns="" xmlns:a16="http://schemas.microsoft.com/office/drawing/2014/main" id="{74FFA7F3-40CF-4664-9A63-B3FDD78F0B9F}"/>
              </a:ext>
            </a:extLst>
          </p:cNvPr>
          <p:cNvSpPr/>
          <p:nvPr/>
        </p:nvSpPr>
        <p:spPr>
          <a:xfrm>
            <a:off x="11451264" y="-15626"/>
            <a:ext cx="740735" cy="7098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pic>
        <p:nvPicPr>
          <p:cNvPr id="150" name="图片 149">
            <a:extLst>
              <a:ext uri="{FF2B5EF4-FFF2-40B4-BE49-F238E27FC236}">
                <a16:creationId xmlns="" xmlns:a16="http://schemas.microsoft.com/office/drawing/2014/main" id="{D58783FB-069B-4E41-AEEA-B39F565B742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18" t="7421" r="16791" b="20191"/>
          <a:stretch/>
        </p:blipFill>
        <p:spPr>
          <a:xfrm>
            <a:off x="11544296" y="37007"/>
            <a:ext cx="576822" cy="62515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文本框 2">
            <a:extLst>
              <a:ext uri="{FF2B5EF4-FFF2-40B4-BE49-F238E27FC236}">
                <a16:creationId xmlns="" xmlns:a16="http://schemas.microsoft.com/office/drawing/2014/main" id="{A7C38575-11C0-4B54-B8A5-F99A0DD5CEE4}"/>
              </a:ext>
            </a:extLst>
          </p:cNvPr>
          <p:cNvSpPr txBox="1"/>
          <p:nvPr/>
        </p:nvSpPr>
        <p:spPr>
          <a:xfrm>
            <a:off x="744239" y="210888"/>
            <a:ext cx="51136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zh-CN" altLang="en-US" sz="2400" b="1" dirty="0">
                <a:solidFill>
                  <a:srgbClr val="000000"/>
                </a:solidFill>
              </a:rPr>
              <a:t>迎新应用使用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说明</a:t>
            </a:r>
          </a:p>
        </p:txBody>
      </p:sp>
      <p:sp>
        <p:nvSpPr>
          <p:cNvPr id="37" name="文本框 36">
            <a:extLst>
              <a:ext uri="{FF2B5EF4-FFF2-40B4-BE49-F238E27FC236}">
                <a16:creationId xmlns="" xmlns:a16="http://schemas.microsoft.com/office/drawing/2014/main" id="{7708141C-8D72-413B-A3B7-17CFF104DF16}"/>
              </a:ext>
            </a:extLst>
          </p:cNvPr>
          <p:cNvSpPr txBox="1"/>
          <p:nvPr/>
        </p:nvSpPr>
        <p:spPr>
          <a:xfrm>
            <a:off x="603259" y="1832714"/>
            <a:ext cx="3858241" cy="3720121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en-US" altLang="zh-CN" dirty="0">
                <a:solidFill>
                  <a:schemeClr val="bg1"/>
                </a:solidFill>
              </a:rPr>
              <a:t>PC</a:t>
            </a:r>
            <a:r>
              <a:rPr lang="zh-CN" altLang="en-US" dirty="0">
                <a:solidFill>
                  <a:schemeClr val="bg1"/>
                </a:solidFill>
              </a:rPr>
              <a:t>端登录：</a:t>
            </a:r>
            <a:endParaRPr lang="en-US" altLang="zh-CN" dirty="0">
              <a:solidFill>
                <a:schemeClr val="bg1"/>
              </a:solidFill>
            </a:endParaRPr>
          </a:p>
          <a:p>
            <a:pPr algn="just">
              <a:lnSpc>
                <a:spcPct val="120000"/>
              </a:lnSpc>
            </a:pPr>
            <a:r>
              <a:rPr lang="en-US" altLang="zh-CN" dirty="0">
                <a:solidFill>
                  <a:schemeClr val="bg1"/>
                </a:solidFill>
                <a:hlinkClick r:id="rId5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://yingxin.upc.edu.cn</a:t>
            </a:r>
            <a:endParaRPr lang="en-US" altLang="zh-CN" dirty="0">
              <a:solidFill>
                <a:schemeClr val="bg1"/>
              </a:solidFill>
            </a:endParaRPr>
          </a:p>
          <a:p>
            <a:pPr algn="just">
              <a:lnSpc>
                <a:spcPct val="120000"/>
              </a:lnSpc>
            </a:pPr>
            <a:endParaRPr lang="en-US" altLang="zh-CN" dirty="0">
              <a:solidFill>
                <a:schemeClr val="bg1"/>
              </a:solidFill>
            </a:endParaRPr>
          </a:p>
          <a:p>
            <a:pPr algn="just">
              <a:lnSpc>
                <a:spcPct val="120000"/>
              </a:lnSpc>
            </a:pPr>
            <a:r>
              <a:rPr lang="zh-CN" altLang="en-US" b="1" dirty="0">
                <a:solidFill>
                  <a:srgbClr val="FFFF00"/>
                </a:solidFill>
              </a:rPr>
              <a:t>登录账号：工号</a:t>
            </a:r>
            <a:endParaRPr lang="en-US" altLang="zh-CN" b="1" dirty="0">
              <a:solidFill>
                <a:srgbClr val="FFFF00"/>
              </a:solidFill>
            </a:endParaRPr>
          </a:p>
          <a:p>
            <a:pPr algn="just">
              <a:lnSpc>
                <a:spcPct val="120000"/>
              </a:lnSpc>
            </a:pPr>
            <a:r>
              <a:rPr lang="zh-CN" altLang="en-US" b="1" dirty="0">
                <a:solidFill>
                  <a:srgbClr val="FFFF00"/>
                </a:solidFill>
              </a:rPr>
              <a:t>初始密码：身份证号后六位</a:t>
            </a:r>
            <a:endParaRPr lang="en-US" altLang="zh-CN" b="1" dirty="0">
              <a:solidFill>
                <a:srgbClr val="FFFF00"/>
              </a:solidFill>
            </a:endParaRPr>
          </a:p>
          <a:p>
            <a:pPr algn="just">
              <a:lnSpc>
                <a:spcPct val="120000"/>
              </a:lnSpc>
            </a:pPr>
            <a:r>
              <a:rPr lang="zh-CN" altLang="en-US" dirty="0" smtClean="0">
                <a:solidFill>
                  <a:schemeClr val="bg1"/>
                </a:solidFill>
              </a:rPr>
              <a:t>首次</a:t>
            </a:r>
            <a:r>
              <a:rPr lang="zh-CN" altLang="en-US" dirty="0">
                <a:solidFill>
                  <a:schemeClr val="bg1"/>
                </a:solidFill>
              </a:rPr>
              <a:t>登录需修改密码</a:t>
            </a:r>
            <a:endParaRPr lang="en-US" altLang="zh-CN" dirty="0">
              <a:solidFill>
                <a:schemeClr val="bg1"/>
              </a:solidFill>
            </a:endParaRPr>
          </a:p>
          <a:p>
            <a:pPr algn="just">
              <a:lnSpc>
                <a:spcPct val="120000"/>
              </a:lnSpc>
            </a:pPr>
            <a:endParaRPr lang="en-US" altLang="zh-CN" dirty="0">
              <a:solidFill>
                <a:schemeClr val="bg1"/>
              </a:solidFill>
            </a:endParaRPr>
          </a:p>
          <a:p>
            <a:pPr algn="just">
              <a:lnSpc>
                <a:spcPct val="120000"/>
              </a:lnSpc>
            </a:pPr>
            <a:r>
              <a:rPr lang="en-US" altLang="zh-CN" dirty="0">
                <a:solidFill>
                  <a:schemeClr val="bg1"/>
                </a:solidFill>
              </a:rPr>
              <a:t>PC</a:t>
            </a:r>
            <a:r>
              <a:rPr lang="zh-CN" altLang="en-US" dirty="0">
                <a:solidFill>
                  <a:schemeClr val="bg1"/>
                </a:solidFill>
              </a:rPr>
              <a:t>端、移动</a:t>
            </a:r>
            <a:r>
              <a:rPr lang="zh-CN" altLang="en-US" dirty="0" smtClean="0">
                <a:solidFill>
                  <a:schemeClr val="bg1"/>
                </a:solidFill>
              </a:rPr>
              <a:t>端均可以</a:t>
            </a:r>
            <a:r>
              <a:rPr lang="zh-CN" altLang="en-US" dirty="0">
                <a:solidFill>
                  <a:schemeClr val="bg1"/>
                </a:solidFill>
              </a:rPr>
              <a:t>查看预报到统计、迎新期间办理报到、登记未报到、查看大数据统计等，但学号分配、学生信息管理等只能通过</a:t>
            </a:r>
            <a:r>
              <a:rPr lang="en-US" altLang="zh-CN" dirty="0">
                <a:solidFill>
                  <a:schemeClr val="bg1"/>
                </a:solidFill>
              </a:rPr>
              <a:t>PC</a:t>
            </a:r>
            <a:r>
              <a:rPr lang="zh-CN" altLang="en-US" dirty="0">
                <a:solidFill>
                  <a:schemeClr val="bg1"/>
                </a:solidFill>
              </a:rPr>
              <a:t>端完成。</a:t>
            </a:r>
            <a:endParaRPr lang="en-US" altLang="zh-CN" dirty="0">
              <a:solidFill>
                <a:schemeClr val="bg1"/>
              </a:solidFill>
            </a:endParaRPr>
          </a:p>
        </p:txBody>
      </p:sp>
      <p:pic>
        <p:nvPicPr>
          <p:cNvPr id="39" name="图片 38">
            <a:extLst>
              <a:ext uri="{FF2B5EF4-FFF2-40B4-BE49-F238E27FC236}">
                <a16:creationId xmlns="" xmlns:a16="http://schemas.microsoft.com/office/drawing/2014/main" id="{EED08F56-21A1-4FD0-9422-6D78DE9E2A4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215" r="3002"/>
          <a:stretch/>
        </p:blipFill>
        <p:spPr>
          <a:xfrm>
            <a:off x="4726935" y="1676401"/>
            <a:ext cx="6837681" cy="4032749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2850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>
            <a:extLst>
              <a:ext uri="{FF2B5EF4-FFF2-40B4-BE49-F238E27FC236}">
                <a16:creationId xmlns="" xmlns:a16="http://schemas.microsoft.com/office/drawing/2014/main" id="{25A8630D-4D15-4C30-9766-536CFA6306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96887" y="3863569"/>
            <a:ext cx="5458685" cy="2677774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39" name="right-arrowheads_44810">
            <a:extLst>
              <a:ext uri="{FF2B5EF4-FFF2-40B4-BE49-F238E27FC236}">
                <a16:creationId xmlns="" xmlns:a16="http://schemas.microsoft.com/office/drawing/2014/main" id="{E2FB155C-7241-4FAF-BFFF-BE33BAC407CA}"/>
              </a:ext>
            </a:extLst>
          </p:cNvPr>
          <p:cNvSpPr/>
          <p:nvPr/>
        </p:nvSpPr>
        <p:spPr>
          <a:xfrm>
            <a:off x="180755" y="173557"/>
            <a:ext cx="533004" cy="520660"/>
          </a:xfrm>
          <a:custGeom>
            <a:avLst/>
            <a:gdLst>
              <a:gd name="T0" fmla="*/ 59 w 415"/>
              <a:gd name="T1" fmla="*/ 406 h 406"/>
              <a:gd name="T2" fmla="*/ 25 w 415"/>
              <a:gd name="T3" fmla="*/ 394 h 406"/>
              <a:gd name="T4" fmla="*/ 19 w 415"/>
              <a:gd name="T5" fmla="*/ 318 h 406"/>
              <a:gd name="T6" fmla="*/ 114 w 415"/>
              <a:gd name="T7" fmla="*/ 206 h 406"/>
              <a:gd name="T8" fmla="*/ 19 w 415"/>
              <a:gd name="T9" fmla="*/ 94 h 406"/>
              <a:gd name="T10" fmla="*/ 25 w 415"/>
              <a:gd name="T11" fmla="*/ 19 h 406"/>
              <a:gd name="T12" fmla="*/ 100 w 415"/>
              <a:gd name="T13" fmla="*/ 25 h 406"/>
              <a:gd name="T14" fmla="*/ 225 w 415"/>
              <a:gd name="T15" fmla="*/ 172 h 406"/>
              <a:gd name="T16" fmla="*/ 225 w 415"/>
              <a:gd name="T17" fmla="*/ 241 h 406"/>
              <a:gd name="T18" fmla="*/ 100 w 415"/>
              <a:gd name="T19" fmla="*/ 388 h 406"/>
              <a:gd name="T20" fmla="*/ 59 w 415"/>
              <a:gd name="T21" fmla="*/ 406 h 406"/>
              <a:gd name="T22" fmla="*/ 273 w 415"/>
              <a:gd name="T23" fmla="*/ 388 h 406"/>
              <a:gd name="T24" fmla="*/ 398 w 415"/>
              <a:gd name="T25" fmla="*/ 241 h 406"/>
              <a:gd name="T26" fmla="*/ 398 w 415"/>
              <a:gd name="T27" fmla="*/ 172 h 406"/>
              <a:gd name="T28" fmla="*/ 273 w 415"/>
              <a:gd name="T29" fmla="*/ 25 h 406"/>
              <a:gd name="T30" fmla="*/ 198 w 415"/>
              <a:gd name="T31" fmla="*/ 19 h 406"/>
              <a:gd name="T32" fmla="*/ 192 w 415"/>
              <a:gd name="T33" fmla="*/ 94 h 406"/>
              <a:gd name="T34" fmla="*/ 287 w 415"/>
              <a:gd name="T35" fmla="*/ 206 h 406"/>
              <a:gd name="T36" fmla="*/ 192 w 415"/>
              <a:gd name="T37" fmla="*/ 318 h 406"/>
              <a:gd name="T38" fmla="*/ 198 w 415"/>
              <a:gd name="T39" fmla="*/ 394 h 406"/>
              <a:gd name="T40" fmla="*/ 232 w 415"/>
              <a:gd name="T41" fmla="*/ 406 h 406"/>
              <a:gd name="T42" fmla="*/ 273 w 415"/>
              <a:gd name="T43" fmla="*/ 388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5" h="406">
                <a:moveTo>
                  <a:pt x="59" y="406"/>
                </a:moveTo>
                <a:cubicBezTo>
                  <a:pt x="47" y="406"/>
                  <a:pt x="35" y="402"/>
                  <a:pt x="25" y="394"/>
                </a:cubicBezTo>
                <a:cubicBezTo>
                  <a:pt x="2" y="375"/>
                  <a:pt x="0" y="341"/>
                  <a:pt x="19" y="318"/>
                </a:cubicBezTo>
                <a:lnTo>
                  <a:pt x="114" y="206"/>
                </a:lnTo>
                <a:lnTo>
                  <a:pt x="19" y="94"/>
                </a:lnTo>
                <a:cubicBezTo>
                  <a:pt x="0" y="71"/>
                  <a:pt x="2" y="38"/>
                  <a:pt x="25" y="19"/>
                </a:cubicBezTo>
                <a:cubicBezTo>
                  <a:pt x="47" y="0"/>
                  <a:pt x="81" y="2"/>
                  <a:pt x="100" y="25"/>
                </a:cubicBezTo>
                <a:lnTo>
                  <a:pt x="225" y="172"/>
                </a:lnTo>
                <a:cubicBezTo>
                  <a:pt x="242" y="192"/>
                  <a:pt x="242" y="221"/>
                  <a:pt x="225" y="241"/>
                </a:cubicBezTo>
                <a:lnTo>
                  <a:pt x="100" y="388"/>
                </a:lnTo>
                <a:cubicBezTo>
                  <a:pt x="89" y="400"/>
                  <a:pt x="74" y="406"/>
                  <a:pt x="59" y="406"/>
                </a:cubicBezTo>
                <a:close/>
                <a:moveTo>
                  <a:pt x="273" y="388"/>
                </a:moveTo>
                <a:lnTo>
                  <a:pt x="398" y="241"/>
                </a:lnTo>
                <a:cubicBezTo>
                  <a:pt x="415" y="221"/>
                  <a:pt x="415" y="192"/>
                  <a:pt x="398" y="172"/>
                </a:cubicBezTo>
                <a:lnTo>
                  <a:pt x="273" y="25"/>
                </a:lnTo>
                <a:cubicBezTo>
                  <a:pt x="254" y="2"/>
                  <a:pt x="220" y="0"/>
                  <a:pt x="198" y="19"/>
                </a:cubicBezTo>
                <a:cubicBezTo>
                  <a:pt x="175" y="38"/>
                  <a:pt x="173" y="71"/>
                  <a:pt x="192" y="94"/>
                </a:cubicBezTo>
                <a:lnTo>
                  <a:pt x="287" y="206"/>
                </a:lnTo>
                <a:lnTo>
                  <a:pt x="192" y="318"/>
                </a:lnTo>
                <a:cubicBezTo>
                  <a:pt x="173" y="341"/>
                  <a:pt x="175" y="375"/>
                  <a:pt x="198" y="394"/>
                </a:cubicBezTo>
                <a:cubicBezTo>
                  <a:pt x="208" y="402"/>
                  <a:pt x="220" y="406"/>
                  <a:pt x="232" y="406"/>
                </a:cubicBezTo>
                <a:cubicBezTo>
                  <a:pt x="247" y="406"/>
                  <a:pt x="262" y="400"/>
                  <a:pt x="273" y="38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="" xmlns:a16="http://schemas.microsoft.com/office/drawing/2014/main" id="{61D803C0-77CF-4160-8975-8FF535D7147E}"/>
              </a:ext>
            </a:extLst>
          </p:cNvPr>
          <p:cNvCxnSpPr>
            <a:cxnSpLocks/>
          </p:cNvCxnSpPr>
          <p:nvPr/>
        </p:nvCxnSpPr>
        <p:spPr>
          <a:xfrm>
            <a:off x="222402" y="678828"/>
            <a:ext cx="11969598" cy="1562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图片 13">
            <a:extLst>
              <a:ext uri="{FF2B5EF4-FFF2-40B4-BE49-F238E27FC236}">
                <a16:creationId xmlns="" xmlns:a16="http://schemas.microsoft.com/office/drawing/2014/main" id="{56664C41-6ED4-46D6-A99B-448D63A15F3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98"/>
          <a:stretch/>
        </p:blipFill>
        <p:spPr>
          <a:xfrm>
            <a:off x="11355572" y="-15626"/>
            <a:ext cx="836428" cy="637379"/>
          </a:xfrm>
          <a:prstGeom prst="rect">
            <a:avLst/>
          </a:prstGeom>
        </p:spPr>
      </p:pic>
      <p:sp>
        <p:nvSpPr>
          <p:cNvPr id="17" name="矩形 16">
            <a:extLst>
              <a:ext uri="{FF2B5EF4-FFF2-40B4-BE49-F238E27FC236}">
                <a16:creationId xmlns="" xmlns:a16="http://schemas.microsoft.com/office/drawing/2014/main" id="{74FFA7F3-40CF-4664-9A63-B3FDD78F0B9F}"/>
              </a:ext>
            </a:extLst>
          </p:cNvPr>
          <p:cNvSpPr/>
          <p:nvPr/>
        </p:nvSpPr>
        <p:spPr>
          <a:xfrm>
            <a:off x="11451264" y="-15626"/>
            <a:ext cx="740735" cy="7098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pic>
        <p:nvPicPr>
          <p:cNvPr id="150" name="图片 149">
            <a:extLst>
              <a:ext uri="{FF2B5EF4-FFF2-40B4-BE49-F238E27FC236}">
                <a16:creationId xmlns="" xmlns:a16="http://schemas.microsoft.com/office/drawing/2014/main" id="{D58783FB-069B-4E41-AEEA-B39F565B74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18" t="7421" r="16791" b="20191"/>
          <a:stretch/>
        </p:blipFill>
        <p:spPr>
          <a:xfrm>
            <a:off x="11544296" y="37007"/>
            <a:ext cx="576822" cy="62515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文本框 2">
            <a:extLst>
              <a:ext uri="{FF2B5EF4-FFF2-40B4-BE49-F238E27FC236}">
                <a16:creationId xmlns="" xmlns:a16="http://schemas.microsoft.com/office/drawing/2014/main" id="{A7C38575-11C0-4B54-B8A5-F99A0DD5CEE4}"/>
              </a:ext>
            </a:extLst>
          </p:cNvPr>
          <p:cNvSpPr txBox="1"/>
          <p:nvPr/>
        </p:nvSpPr>
        <p:spPr>
          <a:xfrm>
            <a:off x="744239" y="210888"/>
            <a:ext cx="55172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zh-CN" altLang="en-US" sz="2400" b="1" dirty="0">
                <a:solidFill>
                  <a:srgbClr val="000000"/>
                </a:solidFill>
              </a:rPr>
              <a:t>迎新应用使用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说明 </a:t>
            </a:r>
            <a:r>
              <a:rPr lang="en-US" altLang="zh-CN" sz="2400" b="1" dirty="0">
                <a:solidFill>
                  <a:srgbClr val="000000"/>
                </a:solidFill>
                <a:latin typeface="Arial"/>
                <a:ea typeface="微软雅黑"/>
              </a:rPr>
              <a:t>—— PC</a:t>
            </a:r>
            <a:r>
              <a:rPr lang="zh-CN" altLang="en-US" sz="2400" b="1" dirty="0">
                <a:solidFill>
                  <a:srgbClr val="000000"/>
                </a:solidFill>
                <a:latin typeface="Arial"/>
                <a:ea typeface="微软雅黑"/>
              </a:rPr>
              <a:t>端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pic>
        <p:nvPicPr>
          <p:cNvPr id="15" name="图片 1">
            <a:extLst>
              <a:ext uri="{FF2B5EF4-FFF2-40B4-BE49-F238E27FC236}">
                <a16:creationId xmlns="" xmlns:a16="http://schemas.microsoft.com/office/drawing/2014/main" id="{AE80F151-88CD-4F6E-B7D6-8E1EC19BD0FB}"/>
              </a:ext>
            </a:extLst>
          </p:cNvPr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7276" y="1019785"/>
            <a:ext cx="5448296" cy="2632259"/>
          </a:xfrm>
          <a:prstGeom prst="rect">
            <a:avLst/>
          </a:prstGeom>
          <a:ln w="9525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箭头: 右 19">
            <a:extLst>
              <a:ext uri="{FF2B5EF4-FFF2-40B4-BE49-F238E27FC236}">
                <a16:creationId xmlns="" xmlns:a16="http://schemas.microsoft.com/office/drawing/2014/main" id="{60D68C44-070C-4DA5-AD0E-D6E9B654680A}"/>
              </a:ext>
            </a:extLst>
          </p:cNvPr>
          <p:cNvSpPr/>
          <p:nvPr/>
        </p:nvSpPr>
        <p:spPr>
          <a:xfrm>
            <a:off x="4653280" y="2126730"/>
            <a:ext cx="500699" cy="31963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3" name="组合 32">
            <a:extLst>
              <a:ext uri="{FF2B5EF4-FFF2-40B4-BE49-F238E27FC236}">
                <a16:creationId xmlns="" xmlns:a16="http://schemas.microsoft.com/office/drawing/2014/main" id="{EB689FE4-3BE8-4ECF-AAB5-74DB7947F29A}"/>
              </a:ext>
            </a:extLst>
          </p:cNvPr>
          <p:cNvGrpSpPr/>
          <p:nvPr/>
        </p:nvGrpSpPr>
        <p:grpSpPr>
          <a:xfrm>
            <a:off x="579330" y="4335489"/>
            <a:ext cx="3381270" cy="1517545"/>
            <a:chOff x="572894" y="1200313"/>
            <a:chExt cx="3381270" cy="1517545"/>
          </a:xfrm>
        </p:grpSpPr>
        <p:sp>
          <p:nvSpPr>
            <p:cNvPr id="34" name="矩形 33">
              <a:extLst>
                <a:ext uri="{FF2B5EF4-FFF2-40B4-BE49-F238E27FC236}">
                  <a16:creationId xmlns="" xmlns:a16="http://schemas.microsoft.com/office/drawing/2014/main" id="{1E6F2BA8-4081-4D43-B652-B8449125E2C5}"/>
                </a:ext>
              </a:extLst>
            </p:cNvPr>
            <p:cNvSpPr/>
            <p:nvPr/>
          </p:nvSpPr>
          <p:spPr>
            <a:xfrm>
              <a:off x="1118204" y="1504576"/>
              <a:ext cx="2801507" cy="11371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30000"/>
                </a:lnSpc>
              </a:pPr>
              <a:r>
                <a:rPr lang="zh-CN" altLang="en-US" dirty="0"/>
                <a:t>辅导员可查看院部新生整体情况，可导出</a:t>
              </a:r>
              <a:r>
                <a:rPr lang="en-US" altLang="zh-CN" dirty="0"/>
                <a:t>Excel</a:t>
              </a:r>
              <a:r>
                <a:rPr lang="zh-CN" altLang="en-US" dirty="0"/>
                <a:t>表格查看，也可直接调班。</a:t>
              </a:r>
            </a:p>
          </p:txBody>
        </p:sp>
        <p:sp>
          <p:nvSpPr>
            <p:cNvPr id="35" name="矩形: 圆角 34">
              <a:extLst>
                <a:ext uri="{FF2B5EF4-FFF2-40B4-BE49-F238E27FC236}">
                  <a16:creationId xmlns="" xmlns:a16="http://schemas.microsoft.com/office/drawing/2014/main" id="{E76D4923-C388-4BC5-A1F5-29DA5D18F147}"/>
                </a:ext>
              </a:extLst>
            </p:cNvPr>
            <p:cNvSpPr/>
            <p:nvPr/>
          </p:nvSpPr>
          <p:spPr>
            <a:xfrm>
              <a:off x="891027" y="1428401"/>
              <a:ext cx="3063137" cy="1289457"/>
            </a:xfrm>
            <a:prstGeom prst="roundRect">
              <a:avLst>
                <a:gd name="adj" fmla="val 5128"/>
              </a:avLst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6" name="椭圆 35">
              <a:extLst>
                <a:ext uri="{FF2B5EF4-FFF2-40B4-BE49-F238E27FC236}">
                  <a16:creationId xmlns="" xmlns:a16="http://schemas.microsoft.com/office/drawing/2014/main" id="{DD22DC5B-5B1B-4B5B-90D6-9BEBD98F8062}"/>
                </a:ext>
              </a:extLst>
            </p:cNvPr>
            <p:cNvSpPr/>
            <p:nvPr/>
          </p:nvSpPr>
          <p:spPr>
            <a:xfrm>
              <a:off x="572894" y="1200313"/>
              <a:ext cx="588510" cy="58851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" name="文本框 37">
              <a:extLst>
                <a:ext uri="{FF2B5EF4-FFF2-40B4-BE49-F238E27FC236}">
                  <a16:creationId xmlns="" xmlns:a16="http://schemas.microsoft.com/office/drawing/2014/main" id="{F7380993-60C6-4338-AE0A-5B9384E8DEAA}"/>
                </a:ext>
              </a:extLst>
            </p:cNvPr>
            <p:cNvSpPr txBox="1"/>
            <p:nvPr/>
          </p:nvSpPr>
          <p:spPr>
            <a:xfrm>
              <a:off x="629178" y="1232958"/>
              <a:ext cx="4759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endPara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1" name="组合 40">
            <a:extLst>
              <a:ext uri="{FF2B5EF4-FFF2-40B4-BE49-F238E27FC236}">
                <a16:creationId xmlns="" xmlns:a16="http://schemas.microsoft.com/office/drawing/2014/main" id="{1FB54E24-F116-473C-B637-1C2863D213FD}"/>
              </a:ext>
            </a:extLst>
          </p:cNvPr>
          <p:cNvGrpSpPr/>
          <p:nvPr/>
        </p:nvGrpSpPr>
        <p:grpSpPr>
          <a:xfrm>
            <a:off x="579331" y="1413730"/>
            <a:ext cx="3381270" cy="1517545"/>
            <a:chOff x="572894" y="1200313"/>
            <a:chExt cx="3381270" cy="1517545"/>
          </a:xfrm>
        </p:grpSpPr>
        <p:sp>
          <p:nvSpPr>
            <p:cNvPr id="42" name="矩形 41">
              <a:extLst>
                <a:ext uri="{FF2B5EF4-FFF2-40B4-BE49-F238E27FC236}">
                  <a16:creationId xmlns="" xmlns:a16="http://schemas.microsoft.com/office/drawing/2014/main" id="{49903B20-61CF-4CB5-8CC1-4E1F1DA52760}"/>
                </a:ext>
              </a:extLst>
            </p:cNvPr>
            <p:cNvSpPr/>
            <p:nvPr/>
          </p:nvSpPr>
          <p:spPr>
            <a:xfrm>
              <a:off x="1128592" y="1684625"/>
              <a:ext cx="2801507" cy="7770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30000"/>
                </a:lnSpc>
              </a:pPr>
              <a:r>
                <a:rPr lang="zh-CN" altLang="en-US" dirty="0"/>
                <a:t>登录迎新系统后进入“迎新管理</a:t>
              </a:r>
              <a:r>
                <a:rPr lang="en-US" altLang="zh-CN" dirty="0"/>
                <a:t>-</a:t>
              </a:r>
              <a:r>
                <a:rPr lang="zh-CN" altLang="en-US" dirty="0"/>
                <a:t>新生管理“界面。</a:t>
              </a:r>
            </a:p>
          </p:txBody>
        </p:sp>
        <p:sp>
          <p:nvSpPr>
            <p:cNvPr id="43" name="矩形: 圆角 42">
              <a:extLst>
                <a:ext uri="{FF2B5EF4-FFF2-40B4-BE49-F238E27FC236}">
                  <a16:creationId xmlns="" xmlns:a16="http://schemas.microsoft.com/office/drawing/2014/main" id="{2379B097-6812-4B60-9A5D-7DE5D5984F65}"/>
                </a:ext>
              </a:extLst>
            </p:cNvPr>
            <p:cNvSpPr/>
            <p:nvPr/>
          </p:nvSpPr>
          <p:spPr>
            <a:xfrm>
              <a:off x="891027" y="1428401"/>
              <a:ext cx="3063137" cy="1289457"/>
            </a:xfrm>
            <a:prstGeom prst="roundRect">
              <a:avLst>
                <a:gd name="adj" fmla="val 5128"/>
              </a:avLst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4" name="椭圆 43">
              <a:extLst>
                <a:ext uri="{FF2B5EF4-FFF2-40B4-BE49-F238E27FC236}">
                  <a16:creationId xmlns="" xmlns:a16="http://schemas.microsoft.com/office/drawing/2014/main" id="{61F21E17-1667-484C-AC08-A245803EF2C8}"/>
                </a:ext>
              </a:extLst>
            </p:cNvPr>
            <p:cNvSpPr/>
            <p:nvPr/>
          </p:nvSpPr>
          <p:spPr>
            <a:xfrm>
              <a:off x="572894" y="1200313"/>
              <a:ext cx="588510" cy="58851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5" name="文本框 44">
              <a:extLst>
                <a:ext uri="{FF2B5EF4-FFF2-40B4-BE49-F238E27FC236}">
                  <a16:creationId xmlns="" xmlns:a16="http://schemas.microsoft.com/office/drawing/2014/main" id="{9370B8F7-A0BF-4BB5-8636-E3B37EA546D0}"/>
                </a:ext>
              </a:extLst>
            </p:cNvPr>
            <p:cNvSpPr txBox="1"/>
            <p:nvPr/>
          </p:nvSpPr>
          <p:spPr>
            <a:xfrm>
              <a:off x="629178" y="1232958"/>
              <a:ext cx="4759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endPara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6" name="箭头: 右 45">
            <a:extLst>
              <a:ext uri="{FF2B5EF4-FFF2-40B4-BE49-F238E27FC236}">
                <a16:creationId xmlns="" xmlns:a16="http://schemas.microsoft.com/office/drawing/2014/main" id="{755D008C-A797-4485-898E-E13E4A4E936A}"/>
              </a:ext>
            </a:extLst>
          </p:cNvPr>
          <p:cNvSpPr/>
          <p:nvPr/>
        </p:nvSpPr>
        <p:spPr>
          <a:xfrm>
            <a:off x="4653280" y="4975980"/>
            <a:ext cx="500699" cy="31963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矩形 1">
            <a:extLst>
              <a:ext uri="{FF2B5EF4-FFF2-40B4-BE49-F238E27FC236}">
                <a16:creationId xmlns="" xmlns:a16="http://schemas.microsoft.com/office/drawing/2014/main" id="{8D70EAA9-E5FF-49AC-B124-E1B889448D30}"/>
              </a:ext>
            </a:extLst>
          </p:cNvPr>
          <p:cNvSpPr/>
          <p:nvPr/>
        </p:nvSpPr>
        <p:spPr>
          <a:xfrm>
            <a:off x="6652979" y="4773430"/>
            <a:ext cx="330964" cy="17848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" name="直接箭头连接符 4">
            <a:extLst>
              <a:ext uri="{FF2B5EF4-FFF2-40B4-BE49-F238E27FC236}">
                <a16:creationId xmlns="" xmlns:a16="http://schemas.microsoft.com/office/drawing/2014/main" id="{E9DBF09B-EA3F-4D85-8B84-57DE9AEB5A31}"/>
              </a:ext>
            </a:extLst>
          </p:cNvPr>
          <p:cNvCxnSpPr>
            <a:cxnSpLocks/>
          </p:cNvCxnSpPr>
          <p:nvPr/>
        </p:nvCxnSpPr>
        <p:spPr>
          <a:xfrm flipH="1">
            <a:off x="6835682" y="4512785"/>
            <a:ext cx="450405" cy="233917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文本框 23">
            <a:extLst>
              <a:ext uri="{FF2B5EF4-FFF2-40B4-BE49-F238E27FC236}">
                <a16:creationId xmlns="" xmlns:a16="http://schemas.microsoft.com/office/drawing/2014/main" id="{BD513A5D-41C6-4B9E-9E89-B0FAEC1B1C07}"/>
              </a:ext>
            </a:extLst>
          </p:cNvPr>
          <p:cNvSpPr txBox="1"/>
          <p:nvPr/>
        </p:nvSpPr>
        <p:spPr>
          <a:xfrm>
            <a:off x="7268866" y="4252017"/>
            <a:ext cx="1194211" cy="387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</a:pPr>
            <a:r>
              <a:rPr lang="zh-CN" altLang="en-US" sz="1600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全部清空</a:t>
            </a:r>
            <a:endParaRPr lang="en-US" altLang="zh-CN" sz="1600" dirty="0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1" name="矩形 50">
            <a:extLst>
              <a:ext uri="{FF2B5EF4-FFF2-40B4-BE49-F238E27FC236}">
                <a16:creationId xmlns="" xmlns:a16="http://schemas.microsoft.com/office/drawing/2014/main" id="{F2974594-C2F8-4A65-BD32-9F190556640B}"/>
              </a:ext>
            </a:extLst>
          </p:cNvPr>
          <p:cNvSpPr/>
          <p:nvPr/>
        </p:nvSpPr>
        <p:spPr>
          <a:xfrm>
            <a:off x="7328586" y="4772826"/>
            <a:ext cx="225203" cy="161965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2" name="矩形 51">
            <a:extLst>
              <a:ext uri="{FF2B5EF4-FFF2-40B4-BE49-F238E27FC236}">
                <a16:creationId xmlns="" xmlns:a16="http://schemas.microsoft.com/office/drawing/2014/main" id="{FA804734-2085-495A-8FBE-2D9F0A2F4C6C}"/>
              </a:ext>
            </a:extLst>
          </p:cNvPr>
          <p:cNvSpPr/>
          <p:nvPr/>
        </p:nvSpPr>
        <p:spPr>
          <a:xfrm>
            <a:off x="7043663" y="4772826"/>
            <a:ext cx="225203" cy="167694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3" name="直接箭头连接符 52">
            <a:extLst>
              <a:ext uri="{FF2B5EF4-FFF2-40B4-BE49-F238E27FC236}">
                <a16:creationId xmlns="" xmlns:a16="http://schemas.microsoft.com/office/drawing/2014/main" id="{09911E3E-C86C-40C0-8E8B-B768B44D1E9D}"/>
              </a:ext>
            </a:extLst>
          </p:cNvPr>
          <p:cNvCxnSpPr>
            <a:cxnSpLocks/>
            <a:stCxn id="57" idx="0"/>
          </p:cNvCxnSpPr>
          <p:nvPr/>
        </p:nvCxnSpPr>
        <p:spPr>
          <a:xfrm flipV="1">
            <a:off x="7043663" y="4951917"/>
            <a:ext cx="76942" cy="313286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直接箭头连接符 54">
            <a:extLst>
              <a:ext uri="{FF2B5EF4-FFF2-40B4-BE49-F238E27FC236}">
                <a16:creationId xmlns="" xmlns:a16="http://schemas.microsoft.com/office/drawing/2014/main" id="{E9E06241-0CA7-479A-BA7F-45B2CA6AF163}"/>
              </a:ext>
            </a:extLst>
          </p:cNvPr>
          <p:cNvCxnSpPr>
            <a:cxnSpLocks/>
          </p:cNvCxnSpPr>
          <p:nvPr/>
        </p:nvCxnSpPr>
        <p:spPr>
          <a:xfrm flipH="1" flipV="1">
            <a:off x="7451965" y="4951917"/>
            <a:ext cx="101824" cy="292652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文本框 23">
            <a:extLst>
              <a:ext uri="{FF2B5EF4-FFF2-40B4-BE49-F238E27FC236}">
                <a16:creationId xmlns="" xmlns:a16="http://schemas.microsoft.com/office/drawing/2014/main" id="{3ED30663-DF9F-445D-885B-5FBC7D2457EC}"/>
              </a:ext>
            </a:extLst>
          </p:cNvPr>
          <p:cNvSpPr txBox="1"/>
          <p:nvPr/>
        </p:nvSpPr>
        <p:spPr>
          <a:xfrm>
            <a:off x="6708109" y="5265203"/>
            <a:ext cx="671107" cy="387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</a:pPr>
            <a:r>
              <a:rPr lang="zh-CN" altLang="en-US" sz="1600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调班</a:t>
            </a:r>
            <a:endParaRPr lang="en-US" altLang="zh-CN" sz="1600" dirty="0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8" name="文本框 23">
            <a:extLst>
              <a:ext uri="{FF2B5EF4-FFF2-40B4-BE49-F238E27FC236}">
                <a16:creationId xmlns="" xmlns:a16="http://schemas.microsoft.com/office/drawing/2014/main" id="{75A8EA76-7A0D-4FC7-94C0-14BDE037F1C2}"/>
              </a:ext>
            </a:extLst>
          </p:cNvPr>
          <p:cNvSpPr txBox="1"/>
          <p:nvPr/>
        </p:nvSpPr>
        <p:spPr>
          <a:xfrm>
            <a:off x="7379216" y="5244569"/>
            <a:ext cx="671107" cy="387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</a:pPr>
            <a:r>
              <a:rPr lang="zh-CN" altLang="en-US" sz="1600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导出</a:t>
            </a:r>
            <a:endParaRPr lang="en-US" altLang="zh-CN" sz="1600" dirty="0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="" xmlns:a16="http://schemas.microsoft.com/office/drawing/2014/main" id="{68CFC34D-16AB-4ACC-A5D7-4CCBA970550D}"/>
              </a:ext>
            </a:extLst>
          </p:cNvPr>
          <p:cNvSpPr/>
          <p:nvPr/>
        </p:nvSpPr>
        <p:spPr>
          <a:xfrm>
            <a:off x="9586609" y="3863569"/>
            <a:ext cx="1785039" cy="267908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文本框 31">
            <a:extLst>
              <a:ext uri="{FF2B5EF4-FFF2-40B4-BE49-F238E27FC236}">
                <a16:creationId xmlns="" xmlns:a16="http://schemas.microsoft.com/office/drawing/2014/main" id="{0EFBA485-1DB0-425F-83FA-7DECD0427161}"/>
              </a:ext>
            </a:extLst>
          </p:cNvPr>
          <p:cNvSpPr txBox="1"/>
          <p:nvPr/>
        </p:nvSpPr>
        <p:spPr>
          <a:xfrm>
            <a:off x="9586609" y="3863687"/>
            <a:ext cx="1785038" cy="2677656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zh-CN" altLang="en-US" sz="1400" b="1" dirty="0">
                <a:solidFill>
                  <a:srgbClr val="FFFF00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注</a:t>
            </a:r>
            <a:r>
              <a:rPr lang="zh-CN" altLang="en-US" sz="1400" b="1" dirty="0" smtClean="0">
                <a:solidFill>
                  <a:srgbClr val="FFFF00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：“一</a:t>
            </a:r>
            <a:r>
              <a:rPr lang="zh-CN" altLang="en-US" sz="1400" b="1" dirty="0">
                <a:solidFill>
                  <a:srgbClr val="FFFF00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键分班</a:t>
            </a:r>
            <a:r>
              <a:rPr lang="zh-CN" altLang="en-US" sz="1400" b="1" dirty="0" smtClean="0">
                <a:solidFill>
                  <a:srgbClr val="FFFF00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“后，如个别学生需要调整班级，可通过</a:t>
            </a:r>
            <a:r>
              <a:rPr lang="en-US" altLang="zh-CN" sz="1400" b="1" dirty="0" smtClean="0">
                <a:solidFill>
                  <a:srgbClr val="FFFF00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/>
            </a:r>
            <a:br>
              <a:rPr lang="en-US" altLang="zh-CN" sz="1400" b="1" dirty="0" smtClean="0">
                <a:solidFill>
                  <a:srgbClr val="FFFF00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</a:br>
            <a:r>
              <a:rPr lang="zh-CN" altLang="en-US" sz="1400" b="1" dirty="0">
                <a:solidFill>
                  <a:srgbClr val="FFFF00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”调班” </a:t>
            </a:r>
            <a:r>
              <a:rPr lang="zh-CN" altLang="en-US" sz="1400" b="1" dirty="0" smtClean="0">
                <a:solidFill>
                  <a:srgbClr val="FFFF00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进行调整。</a:t>
            </a:r>
            <a:r>
              <a:rPr lang="zh-CN" altLang="en-US" sz="1400" b="1" dirty="0">
                <a:solidFill>
                  <a:srgbClr val="FFFF00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“一键分学号</a:t>
            </a:r>
            <a:r>
              <a:rPr lang="zh-CN" altLang="en-US" sz="1400" b="1" dirty="0" smtClean="0">
                <a:solidFill>
                  <a:srgbClr val="FFFF00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”后，如个别学生需要调整学号，可点击详情手动调整 。</a:t>
            </a:r>
            <a:r>
              <a:rPr lang="zh-CN" altLang="en-US" sz="1400" b="1" dirty="0" smtClean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sym typeface="Wingdings" panose="05000000000000000000" pitchFamily="2" charset="2"/>
              </a:rPr>
              <a:t>学校将数据全部归档后，就不能再进行修改操作。</a:t>
            </a:r>
            <a:endParaRPr lang="zh-CN" altLang="en-US" sz="1600" b="1" dirty="0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4230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>
            <a:extLst>
              <a:ext uri="{FF2B5EF4-FFF2-40B4-BE49-F238E27FC236}">
                <a16:creationId xmlns="" xmlns:a16="http://schemas.microsoft.com/office/drawing/2014/main" id="{1A76D827-CAA1-42E6-B312-77A27B7DB8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7272" y="1035023"/>
            <a:ext cx="5448298" cy="2601690"/>
          </a:xfrm>
          <a:prstGeom prst="rect">
            <a:avLst/>
          </a:prstGeom>
        </p:spPr>
      </p:pic>
      <p:pic>
        <p:nvPicPr>
          <p:cNvPr id="7" name="图片 6">
            <a:extLst>
              <a:ext uri="{FF2B5EF4-FFF2-40B4-BE49-F238E27FC236}">
                <a16:creationId xmlns="" xmlns:a16="http://schemas.microsoft.com/office/drawing/2014/main" id="{2733562E-D6CF-460C-9808-7B8221F887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96886" y="3886327"/>
            <a:ext cx="5458685" cy="2632258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39" name="right-arrowheads_44810">
            <a:extLst>
              <a:ext uri="{FF2B5EF4-FFF2-40B4-BE49-F238E27FC236}">
                <a16:creationId xmlns="" xmlns:a16="http://schemas.microsoft.com/office/drawing/2014/main" id="{E2FB155C-7241-4FAF-BFFF-BE33BAC407CA}"/>
              </a:ext>
            </a:extLst>
          </p:cNvPr>
          <p:cNvSpPr/>
          <p:nvPr/>
        </p:nvSpPr>
        <p:spPr>
          <a:xfrm>
            <a:off x="180755" y="173557"/>
            <a:ext cx="533004" cy="520660"/>
          </a:xfrm>
          <a:custGeom>
            <a:avLst/>
            <a:gdLst>
              <a:gd name="T0" fmla="*/ 59 w 415"/>
              <a:gd name="T1" fmla="*/ 406 h 406"/>
              <a:gd name="T2" fmla="*/ 25 w 415"/>
              <a:gd name="T3" fmla="*/ 394 h 406"/>
              <a:gd name="T4" fmla="*/ 19 w 415"/>
              <a:gd name="T5" fmla="*/ 318 h 406"/>
              <a:gd name="T6" fmla="*/ 114 w 415"/>
              <a:gd name="T7" fmla="*/ 206 h 406"/>
              <a:gd name="T8" fmla="*/ 19 w 415"/>
              <a:gd name="T9" fmla="*/ 94 h 406"/>
              <a:gd name="T10" fmla="*/ 25 w 415"/>
              <a:gd name="T11" fmla="*/ 19 h 406"/>
              <a:gd name="T12" fmla="*/ 100 w 415"/>
              <a:gd name="T13" fmla="*/ 25 h 406"/>
              <a:gd name="T14" fmla="*/ 225 w 415"/>
              <a:gd name="T15" fmla="*/ 172 h 406"/>
              <a:gd name="T16" fmla="*/ 225 w 415"/>
              <a:gd name="T17" fmla="*/ 241 h 406"/>
              <a:gd name="T18" fmla="*/ 100 w 415"/>
              <a:gd name="T19" fmla="*/ 388 h 406"/>
              <a:gd name="T20" fmla="*/ 59 w 415"/>
              <a:gd name="T21" fmla="*/ 406 h 406"/>
              <a:gd name="T22" fmla="*/ 273 w 415"/>
              <a:gd name="T23" fmla="*/ 388 h 406"/>
              <a:gd name="T24" fmla="*/ 398 w 415"/>
              <a:gd name="T25" fmla="*/ 241 h 406"/>
              <a:gd name="T26" fmla="*/ 398 w 415"/>
              <a:gd name="T27" fmla="*/ 172 h 406"/>
              <a:gd name="T28" fmla="*/ 273 w 415"/>
              <a:gd name="T29" fmla="*/ 25 h 406"/>
              <a:gd name="T30" fmla="*/ 198 w 415"/>
              <a:gd name="T31" fmla="*/ 19 h 406"/>
              <a:gd name="T32" fmla="*/ 192 w 415"/>
              <a:gd name="T33" fmla="*/ 94 h 406"/>
              <a:gd name="T34" fmla="*/ 287 w 415"/>
              <a:gd name="T35" fmla="*/ 206 h 406"/>
              <a:gd name="T36" fmla="*/ 192 w 415"/>
              <a:gd name="T37" fmla="*/ 318 h 406"/>
              <a:gd name="T38" fmla="*/ 198 w 415"/>
              <a:gd name="T39" fmla="*/ 394 h 406"/>
              <a:gd name="T40" fmla="*/ 232 w 415"/>
              <a:gd name="T41" fmla="*/ 406 h 406"/>
              <a:gd name="T42" fmla="*/ 273 w 415"/>
              <a:gd name="T43" fmla="*/ 388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5" h="406">
                <a:moveTo>
                  <a:pt x="59" y="406"/>
                </a:moveTo>
                <a:cubicBezTo>
                  <a:pt x="47" y="406"/>
                  <a:pt x="35" y="402"/>
                  <a:pt x="25" y="394"/>
                </a:cubicBezTo>
                <a:cubicBezTo>
                  <a:pt x="2" y="375"/>
                  <a:pt x="0" y="341"/>
                  <a:pt x="19" y="318"/>
                </a:cubicBezTo>
                <a:lnTo>
                  <a:pt x="114" y="206"/>
                </a:lnTo>
                <a:lnTo>
                  <a:pt x="19" y="94"/>
                </a:lnTo>
                <a:cubicBezTo>
                  <a:pt x="0" y="71"/>
                  <a:pt x="2" y="38"/>
                  <a:pt x="25" y="19"/>
                </a:cubicBezTo>
                <a:cubicBezTo>
                  <a:pt x="47" y="0"/>
                  <a:pt x="81" y="2"/>
                  <a:pt x="100" y="25"/>
                </a:cubicBezTo>
                <a:lnTo>
                  <a:pt x="225" y="172"/>
                </a:lnTo>
                <a:cubicBezTo>
                  <a:pt x="242" y="192"/>
                  <a:pt x="242" y="221"/>
                  <a:pt x="225" y="241"/>
                </a:cubicBezTo>
                <a:lnTo>
                  <a:pt x="100" y="388"/>
                </a:lnTo>
                <a:cubicBezTo>
                  <a:pt x="89" y="400"/>
                  <a:pt x="74" y="406"/>
                  <a:pt x="59" y="406"/>
                </a:cubicBezTo>
                <a:close/>
                <a:moveTo>
                  <a:pt x="273" y="388"/>
                </a:moveTo>
                <a:lnTo>
                  <a:pt x="398" y="241"/>
                </a:lnTo>
                <a:cubicBezTo>
                  <a:pt x="415" y="221"/>
                  <a:pt x="415" y="192"/>
                  <a:pt x="398" y="172"/>
                </a:cubicBezTo>
                <a:lnTo>
                  <a:pt x="273" y="25"/>
                </a:lnTo>
                <a:cubicBezTo>
                  <a:pt x="254" y="2"/>
                  <a:pt x="220" y="0"/>
                  <a:pt x="198" y="19"/>
                </a:cubicBezTo>
                <a:cubicBezTo>
                  <a:pt x="175" y="38"/>
                  <a:pt x="173" y="71"/>
                  <a:pt x="192" y="94"/>
                </a:cubicBezTo>
                <a:lnTo>
                  <a:pt x="287" y="206"/>
                </a:lnTo>
                <a:lnTo>
                  <a:pt x="192" y="318"/>
                </a:lnTo>
                <a:cubicBezTo>
                  <a:pt x="173" y="341"/>
                  <a:pt x="175" y="375"/>
                  <a:pt x="198" y="394"/>
                </a:cubicBezTo>
                <a:cubicBezTo>
                  <a:pt x="208" y="402"/>
                  <a:pt x="220" y="406"/>
                  <a:pt x="232" y="406"/>
                </a:cubicBezTo>
                <a:cubicBezTo>
                  <a:pt x="247" y="406"/>
                  <a:pt x="262" y="400"/>
                  <a:pt x="273" y="38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="" xmlns:a16="http://schemas.microsoft.com/office/drawing/2014/main" id="{61D803C0-77CF-4160-8975-8FF535D7147E}"/>
              </a:ext>
            </a:extLst>
          </p:cNvPr>
          <p:cNvCxnSpPr>
            <a:cxnSpLocks/>
          </p:cNvCxnSpPr>
          <p:nvPr/>
        </p:nvCxnSpPr>
        <p:spPr>
          <a:xfrm>
            <a:off x="222402" y="678828"/>
            <a:ext cx="11969598" cy="1562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图片 13">
            <a:extLst>
              <a:ext uri="{FF2B5EF4-FFF2-40B4-BE49-F238E27FC236}">
                <a16:creationId xmlns="" xmlns:a16="http://schemas.microsoft.com/office/drawing/2014/main" id="{56664C41-6ED4-46D6-A99B-448D63A15F3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98"/>
          <a:stretch/>
        </p:blipFill>
        <p:spPr>
          <a:xfrm>
            <a:off x="11355572" y="-15626"/>
            <a:ext cx="836428" cy="637379"/>
          </a:xfrm>
          <a:prstGeom prst="rect">
            <a:avLst/>
          </a:prstGeom>
        </p:spPr>
      </p:pic>
      <p:sp>
        <p:nvSpPr>
          <p:cNvPr id="17" name="矩形 16">
            <a:extLst>
              <a:ext uri="{FF2B5EF4-FFF2-40B4-BE49-F238E27FC236}">
                <a16:creationId xmlns="" xmlns:a16="http://schemas.microsoft.com/office/drawing/2014/main" id="{74FFA7F3-40CF-4664-9A63-B3FDD78F0B9F}"/>
              </a:ext>
            </a:extLst>
          </p:cNvPr>
          <p:cNvSpPr/>
          <p:nvPr/>
        </p:nvSpPr>
        <p:spPr>
          <a:xfrm>
            <a:off x="11451264" y="-15626"/>
            <a:ext cx="740735" cy="7098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pic>
        <p:nvPicPr>
          <p:cNvPr id="150" name="图片 149">
            <a:extLst>
              <a:ext uri="{FF2B5EF4-FFF2-40B4-BE49-F238E27FC236}">
                <a16:creationId xmlns="" xmlns:a16="http://schemas.microsoft.com/office/drawing/2014/main" id="{D58783FB-069B-4E41-AEEA-B39F565B742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18" t="7421" r="16791" b="20191"/>
          <a:stretch/>
        </p:blipFill>
        <p:spPr>
          <a:xfrm>
            <a:off x="11544296" y="37007"/>
            <a:ext cx="576822" cy="62515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文本框 2">
            <a:extLst>
              <a:ext uri="{FF2B5EF4-FFF2-40B4-BE49-F238E27FC236}">
                <a16:creationId xmlns="" xmlns:a16="http://schemas.microsoft.com/office/drawing/2014/main" id="{A7C38575-11C0-4B54-B8A5-F99A0DD5CEE4}"/>
              </a:ext>
            </a:extLst>
          </p:cNvPr>
          <p:cNvSpPr txBox="1"/>
          <p:nvPr/>
        </p:nvSpPr>
        <p:spPr>
          <a:xfrm>
            <a:off x="744239" y="210888"/>
            <a:ext cx="55172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zh-CN" altLang="en-US" sz="2400" b="1" dirty="0">
                <a:solidFill>
                  <a:srgbClr val="000000"/>
                </a:solidFill>
              </a:rPr>
              <a:t>迎新应用使用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说明 </a:t>
            </a:r>
            <a:r>
              <a:rPr lang="en-US" altLang="zh-CN" sz="2400" b="1" dirty="0">
                <a:solidFill>
                  <a:srgbClr val="000000"/>
                </a:solidFill>
                <a:latin typeface="Arial"/>
                <a:ea typeface="微软雅黑"/>
              </a:rPr>
              <a:t>—— PC</a:t>
            </a:r>
            <a:r>
              <a:rPr lang="zh-CN" altLang="en-US" sz="2400" b="1" dirty="0">
                <a:solidFill>
                  <a:srgbClr val="000000"/>
                </a:solidFill>
                <a:latin typeface="Arial"/>
                <a:ea typeface="微软雅黑"/>
              </a:rPr>
              <a:t>端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20" name="箭头: 右 19">
            <a:extLst>
              <a:ext uri="{FF2B5EF4-FFF2-40B4-BE49-F238E27FC236}">
                <a16:creationId xmlns="" xmlns:a16="http://schemas.microsoft.com/office/drawing/2014/main" id="{60D68C44-070C-4DA5-AD0E-D6E9B654680A}"/>
              </a:ext>
            </a:extLst>
          </p:cNvPr>
          <p:cNvSpPr/>
          <p:nvPr/>
        </p:nvSpPr>
        <p:spPr>
          <a:xfrm>
            <a:off x="4653280" y="2126730"/>
            <a:ext cx="500699" cy="31963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3" name="组合 32">
            <a:extLst>
              <a:ext uri="{FF2B5EF4-FFF2-40B4-BE49-F238E27FC236}">
                <a16:creationId xmlns="" xmlns:a16="http://schemas.microsoft.com/office/drawing/2014/main" id="{EB689FE4-3BE8-4ECF-AAB5-74DB7947F29A}"/>
              </a:ext>
            </a:extLst>
          </p:cNvPr>
          <p:cNvGrpSpPr/>
          <p:nvPr/>
        </p:nvGrpSpPr>
        <p:grpSpPr>
          <a:xfrm>
            <a:off x="579330" y="4335489"/>
            <a:ext cx="3381270" cy="1517545"/>
            <a:chOff x="572894" y="1200313"/>
            <a:chExt cx="3381270" cy="1517545"/>
          </a:xfrm>
        </p:grpSpPr>
        <p:sp>
          <p:nvSpPr>
            <p:cNvPr id="34" name="矩形 33">
              <a:extLst>
                <a:ext uri="{FF2B5EF4-FFF2-40B4-BE49-F238E27FC236}">
                  <a16:creationId xmlns="" xmlns:a16="http://schemas.microsoft.com/office/drawing/2014/main" id="{1E6F2BA8-4081-4D43-B652-B8449125E2C5}"/>
                </a:ext>
              </a:extLst>
            </p:cNvPr>
            <p:cNvSpPr/>
            <p:nvPr/>
          </p:nvSpPr>
          <p:spPr>
            <a:xfrm>
              <a:off x="1118204" y="1504576"/>
              <a:ext cx="2801507" cy="11371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30000"/>
                </a:lnSpc>
              </a:pPr>
              <a:r>
                <a:rPr lang="zh-CN" altLang="en-US" dirty="0"/>
                <a:t>一键分学号：点击“编学号”，按照学院情况选择分学号规则，点击确定。</a:t>
              </a:r>
            </a:p>
          </p:txBody>
        </p:sp>
        <p:sp>
          <p:nvSpPr>
            <p:cNvPr id="35" name="矩形: 圆角 34">
              <a:extLst>
                <a:ext uri="{FF2B5EF4-FFF2-40B4-BE49-F238E27FC236}">
                  <a16:creationId xmlns="" xmlns:a16="http://schemas.microsoft.com/office/drawing/2014/main" id="{E76D4923-C388-4BC5-A1F5-29DA5D18F147}"/>
                </a:ext>
              </a:extLst>
            </p:cNvPr>
            <p:cNvSpPr/>
            <p:nvPr/>
          </p:nvSpPr>
          <p:spPr>
            <a:xfrm>
              <a:off x="891027" y="1428401"/>
              <a:ext cx="3063137" cy="1289457"/>
            </a:xfrm>
            <a:prstGeom prst="roundRect">
              <a:avLst>
                <a:gd name="adj" fmla="val 5128"/>
              </a:avLst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6" name="椭圆 35">
              <a:extLst>
                <a:ext uri="{FF2B5EF4-FFF2-40B4-BE49-F238E27FC236}">
                  <a16:creationId xmlns="" xmlns:a16="http://schemas.microsoft.com/office/drawing/2014/main" id="{DD22DC5B-5B1B-4B5B-90D6-9BEBD98F8062}"/>
                </a:ext>
              </a:extLst>
            </p:cNvPr>
            <p:cNvSpPr/>
            <p:nvPr/>
          </p:nvSpPr>
          <p:spPr>
            <a:xfrm>
              <a:off x="572894" y="1200313"/>
              <a:ext cx="588510" cy="58851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" name="文本框 37">
              <a:extLst>
                <a:ext uri="{FF2B5EF4-FFF2-40B4-BE49-F238E27FC236}">
                  <a16:creationId xmlns="" xmlns:a16="http://schemas.microsoft.com/office/drawing/2014/main" id="{F7380993-60C6-4338-AE0A-5B9384E8DEAA}"/>
                </a:ext>
              </a:extLst>
            </p:cNvPr>
            <p:cNvSpPr txBox="1"/>
            <p:nvPr/>
          </p:nvSpPr>
          <p:spPr>
            <a:xfrm>
              <a:off x="629178" y="1232958"/>
              <a:ext cx="4759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</a:t>
              </a:r>
              <a:endPara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1" name="组合 40">
            <a:extLst>
              <a:ext uri="{FF2B5EF4-FFF2-40B4-BE49-F238E27FC236}">
                <a16:creationId xmlns="" xmlns:a16="http://schemas.microsoft.com/office/drawing/2014/main" id="{1FB54E24-F116-473C-B637-1C2863D213FD}"/>
              </a:ext>
            </a:extLst>
          </p:cNvPr>
          <p:cNvGrpSpPr/>
          <p:nvPr/>
        </p:nvGrpSpPr>
        <p:grpSpPr>
          <a:xfrm>
            <a:off x="579331" y="1413730"/>
            <a:ext cx="3381270" cy="1517545"/>
            <a:chOff x="572894" y="1200313"/>
            <a:chExt cx="3381270" cy="1517545"/>
          </a:xfrm>
        </p:grpSpPr>
        <p:sp>
          <p:nvSpPr>
            <p:cNvPr id="42" name="矩形 41">
              <a:extLst>
                <a:ext uri="{FF2B5EF4-FFF2-40B4-BE49-F238E27FC236}">
                  <a16:creationId xmlns="" xmlns:a16="http://schemas.microsoft.com/office/drawing/2014/main" id="{49903B20-61CF-4CB5-8CC1-4E1F1DA52760}"/>
                </a:ext>
              </a:extLst>
            </p:cNvPr>
            <p:cNvSpPr/>
            <p:nvPr/>
          </p:nvSpPr>
          <p:spPr>
            <a:xfrm>
              <a:off x="1125130" y="1514302"/>
              <a:ext cx="2801507" cy="11371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30000"/>
                </a:lnSpc>
              </a:pPr>
              <a:r>
                <a:rPr lang="zh-CN" altLang="en-US" dirty="0"/>
                <a:t>一键分班：点击“分班“，按照学院情况选择分班规则，点击确定。</a:t>
              </a:r>
            </a:p>
          </p:txBody>
        </p:sp>
        <p:sp>
          <p:nvSpPr>
            <p:cNvPr id="43" name="矩形: 圆角 42">
              <a:extLst>
                <a:ext uri="{FF2B5EF4-FFF2-40B4-BE49-F238E27FC236}">
                  <a16:creationId xmlns="" xmlns:a16="http://schemas.microsoft.com/office/drawing/2014/main" id="{2379B097-6812-4B60-9A5D-7DE5D5984F65}"/>
                </a:ext>
              </a:extLst>
            </p:cNvPr>
            <p:cNvSpPr/>
            <p:nvPr/>
          </p:nvSpPr>
          <p:spPr>
            <a:xfrm>
              <a:off x="891027" y="1428401"/>
              <a:ext cx="3063137" cy="1289457"/>
            </a:xfrm>
            <a:prstGeom prst="roundRect">
              <a:avLst>
                <a:gd name="adj" fmla="val 5128"/>
              </a:avLst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4" name="椭圆 43">
              <a:extLst>
                <a:ext uri="{FF2B5EF4-FFF2-40B4-BE49-F238E27FC236}">
                  <a16:creationId xmlns="" xmlns:a16="http://schemas.microsoft.com/office/drawing/2014/main" id="{61F21E17-1667-484C-AC08-A245803EF2C8}"/>
                </a:ext>
              </a:extLst>
            </p:cNvPr>
            <p:cNvSpPr/>
            <p:nvPr/>
          </p:nvSpPr>
          <p:spPr>
            <a:xfrm>
              <a:off x="572894" y="1200313"/>
              <a:ext cx="588510" cy="58851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5" name="文本框 44">
              <a:extLst>
                <a:ext uri="{FF2B5EF4-FFF2-40B4-BE49-F238E27FC236}">
                  <a16:creationId xmlns="" xmlns:a16="http://schemas.microsoft.com/office/drawing/2014/main" id="{9370B8F7-A0BF-4BB5-8636-E3B37EA546D0}"/>
                </a:ext>
              </a:extLst>
            </p:cNvPr>
            <p:cNvSpPr txBox="1"/>
            <p:nvPr/>
          </p:nvSpPr>
          <p:spPr>
            <a:xfrm>
              <a:off x="629178" y="1232958"/>
              <a:ext cx="4759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endPara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6" name="箭头: 右 45">
            <a:extLst>
              <a:ext uri="{FF2B5EF4-FFF2-40B4-BE49-F238E27FC236}">
                <a16:creationId xmlns="" xmlns:a16="http://schemas.microsoft.com/office/drawing/2014/main" id="{755D008C-A797-4485-898E-E13E4A4E936A}"/>
              </a:ext>
            </a:extLst>
          </p:cNvPr>
          <p:cNvSpPr/>
          <p:nvPr/>
        </p:nvSpPr>
        <p:spPr>
          <a:xfrm>
            <a:off x="4653280" y="4975980"/>
            <a:ext cx="500699" cy="31963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矩形 1">
            <a:extLst>
              <a:ext uri="{FF2B5EF4-FFF2-40B4-BE49-F238E27FC236}">
                <a16:creationId xmlns="" xmlns:a16="http://schemas.microsoft.com/office/drawing/2014/main" id="{8D70EAA9-E5FF-49AC-B124-E1B889448D30}"/>
              </a:ext>
            </a:extLst>
          </p:cNvPr>
          <p:cNvSpPr/>
          <p:nvPr/>
        </p:nvSpPr>
        <p:spPr>
          <a:xfrm>
            <a:off x="6328675" y="4797494"/>
            <a:ext cx="330964" cy="17848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5" name="直接箭头连接符 4">
            <a:extLst>
              <a:ext uri="{FF2B5EF4-FFF2-40B4-BE49-F238E27FC236}">
                <a16:creationId xmlns="" xmlns:a16="http://schemas.microsoft.com/office/drawing/2014/main" id="{E9DBF09B-EA3F-4D85-8B84-57DE9AEB5A31}"/>
              </a:ext>
            </a:extLst>
          </p:cNvPr>
          <p:cNvCxnSpPr>
            <a:cxnSpLocks/>
          </p:cNvCxnSpPr>
          <p:nvPr/>
        </p:nvCxnSpPr>
        <p:spPr>
          <a:xfrm flipH="1">
            <a:off x="6656503" y="4604450"/>
            <a:ext cx="512378" cy="136474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矩形 27">
            <a:extLst>
              <a:ext uri="{FF2B5EF4-FFF2-40B4-BE49-F238E27FC236}">
                <a16:creationId xmlns="" xmlns:a16="http://schemas.microsoft.com/office/drawing/2014/main" id="{47CA5319-8C96-4CB7-9A9E-23EC983E1465}"/>
              </a:ext>
            </a:extLst>
          </p:cNvPr>
          <p:cNvSpPr/>
          <p:nvPr/>
        </p:nvSpPr>
        <p:spPr>
          <a:xfrm>
            <a:off x="6017206" y="1912997"/>
            <a:ext cx="330964" cy="17848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矩形 28">
            <a:extLst>
              <a:ext uri="{FF2B5EF4-FFF2-40B4-BE49-F238E27FC236}">
                <a16:creationId xmlns="" xmlns:a16="http://schemas.microsoft.com/office/drawing/2014/main" id="{964AE0D3-BF35-4EC7-8BAA-E5C2527592BC}"/>
              </a:ext>
            </a:extLst>
          </p:cNvPr>
          <p:cNvSpPr/>
          <p:nvPr/>
        </p:nvSpPr>
        <p:spPr>
          <a:xfrm>
            <a:off x="10031742" y="1235243"/>
            <a:ext cx="592141" cy="169603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0" name="直接箭头连接符 29">
            <a:extLst>
              <a:ext uri="{FF2B5EF4-FFF2-40B4-BE49-F238E27FC236}">
                <a16:creationId xmlns="" xmlns:a16="http://schemas.microsoft.com/office/drawing/2014/main" id="{D527390E-F501-413C-8A08-3E9E4EA32966}"/>
              </a:ext>
            </a:extLst>
          </p:cNvPr>
          <p:cNvCxnSpPr>
            <a:cxnSpLocks/>
          </p:cNvCxnSpPr>
          <p:nvPr/>
        </p:nvCxnSpPr>
        <p:spPr>
          <a:xfrm flipH="1">
            <a:off x="6409763" y="1844760"/>
            <a:ext cx="512378" cy="136474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文本框 23">
            <a:extLst>
              <a:ext uri="{FF2B5EF4-FFF2-40B4-BE49-F238E27FC236}">
                <a16:creationId xmlns="" xmlns:a16="http://schemas.microsoft.com/office/drawing/2014/main" id="{33C3349C-3919-4437-8CA9-356ABCF328D3}"/>
              </a:ext>
            </a:extLst>
          </p:cNvPr>
          <p:cNvSpPr txBox="1"/>
          <p:nvPr/>
        </p:nvSpPr>
        <p:spPr>
          <a:xfrm>
            <a:off x="6912692" y="1547202"/>
            <a:ext cx="875204" cy="387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</a:pPr>
            <a:r>
              <a:rPr lang="zh-CN" altLang="en-US" sz="1600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点这里</a:t>
            </a:r>
            <a:endParaRPr lang="en-US" altLang="zh-CN" sz="1600" dirty="0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cxnSp>
        <p:nvCxnSpPr>
          <p:cNvPr id="32" name="直接箭头连接符 31">
            <a:extLst>
              <a:ext uri="{FF2B5EF4-FFF2-40B4-BE49-F238E27FC236}">
                <a16:creationId xmlns="" xmlns:a16="http://schemas.microsoft.com/office/drawing/2014/main" id="{CD35C71B-3796-4D0F-8510-BF9E33498BAC}"/>
              </a:ext>
            </a:extLst>
          </p:cNvPr>
          <p:cNvCxnSpPr>
            <a:cxnSpLocks/>
          </p:cNvCxnSpPr>
          <p:nvPr/>
        </p:nvCxnSpPr>
        <p:spPr>
          <a:xfrm flipV="1">
            <a:off x="9643929" y="1663758"/>
            <a:ext cx="323469" cy="271179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文本框 23">
            <a:extLst>
              <a:ext uri="{FF2B5EF4-FFF2-40B4-BE49-F238E27FC236}">
                <a16:creationId xmlns="" xmlns:a16="http://schemas.microsoft.com/office/drawing/2014/main" id="{FB9C5043-C7C5-49F1-AA62-B0358F6E3A4D}"/>
              </a:ext>
            </a:extLst>
          </p:cNvPr>
          <p:cNvSpPr txBox="1"/>
          <p:nvPr/>
        </p:nvSpPr>
        <p:spPr>
          <a:xfrm>
            <a:off x="8369332" y="1889390"/>
            <a:ext cx="1662410" cy="387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</a:pPr>
            <a:r>
              <a:rPr lang="zh-CN" altLang="en-US" sz="1600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选择分班规则</a:t>
            </a:r>
            <a:endParaRPr lang="en-US" altLang="zh-CN" sz="1600" dirty="0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9" name="文本框 23">
            <a:extLst>
              <a:ext uri="{FF2B5EF4-FFF2-40B4-BE49-F238E27FC236}">
                <a16:creationId xmlns="" xmlns:a16="http://schemas.microsoft.com/office/drawing/2014/main" id="{6E1D8B5A-4034-4332-809B-EC3D189943B7}"/>
              </a:ext>
            </a:extLst>
          </p:cNvPr>
          <p:cNvSpPr txBox="1"/>
          <p:nvPr/>
        </p:nvSpPr>
        <p:spPr>
          <a:xfrm>
            <a:off x="7116404" y="4276529"/>
            <a:ext cx="875204" cy="387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</a:pPr>
            <a:r>
              <a:rPr lang="zh-CN" altLang="en-US" sz="1600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点这里</a:t>
            </a:r>
            <a:endParaRPr lang="en-US" altLang="zh-CN" sz="1600" dirty="0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0" name="矩形 39">
            <a:extLst>
              <a:ext uri="{FF2B5EF4-FFF2-40B4-BE49-F238E27FC236}">
                <a16:creationId xmlns="" xmlns:a16="http://schemas.microsoft.com/office/drawing/2014/main" id="{AD45B1A8-ABCF-41F1-8A30-5F0979CDD3B8}"/>
              </a:ext>
            </a:extLst>
          </p:cNvPr>
          <p:cNvSpPr/>
          <p:nvPr/>
        </p:nvSpPr>
        <p:spPr>
          <a:xfrm>
            <a:off x="9993180" y="4127964"/>
            <a:ext cx="592141" cy="1815636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48" name="直接箭头连接符 47">
            <a:extLst>
              <a:ext uri="{FF2B5EF4-FFF2-40B4-BE49-F238E27FC236}">
                <a16:creationId xmlns="" xmlns:a16="http://schemas.microsoft.com/office/drawing/2014/main" id="{450D7A89-D91D-4D05-926A-37534A21B8E8}"/>
              </a:ext>
            </a:extLst>
          </p:cNvPr>
          <p:cNvCxnSpPr>
            <a:cxnSpLocks/>
          </p:cNvCxnSpPr>
          <p:nvPr/>
        </p:nvCxnSpPr>
        <p:spPr>
          <a:xfrm flipV="1">
            <a:off x="9624965" y="4864616"/>
            <a:ext cx="323469" cy="271179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文本框 23">
            <a:extLst>
              <a:ext uri="{FF2B5EF4-FFF2-40B4-BE49-F238E27FC236}">
                <a16:creationId xmlns="" xmlns:a16="http://schemas.microsoft.com/office/drawing/2014/main" id="{A8F8EA3E-78BC-49ED-BDCF-3C07FF1067C4}"/>
              </a:ext>
            </a:extLst>
          </p:cNvPr>
          <p:cNvSpPr txBox="1"/>
          <p:nvPr/>
        </p:nvSpPr>
        <p:spPr>
          <a:xfrm>
            <a:off x="8140202" y="5097956"/>
            <a:ext cx="1891540" cy="387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</a:pPr>
            <a:r>
              <a:rPr lang="zh-CN" altLang="en-US" sz="1600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选择分学号规则</a:t>
            </a:r>
            <a:endParaRPr lang="en-US" altLang="zh-CN" sz="1600" dirty="0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66244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>
            <a:extLst>
              <a:ext uri="{FF2B5EF4-FFF2-40B4-BE49-F238E27FC236}">
                <a16:creationId xmlns="" xmlns:a16="http://schemas.microsoft.com/office/drawing/2014/main" id="{94900AA3-E587-4A8D-953B-5C9DD2FE85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07276" y="955654"/>
            <a:ext cx="5598338" cy="277590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pic>
        <p:nvPicPr>
          <p:cNvPr id="26" name="图片 25">
            <a:extLst>
              <a:ext uri="{FF2B5EF4-FFF2-40B4-BE49-F238E27FC236}">
                <a16:creationId xmlns="" xmlns:a16="http://schemas.microsoft.com/office/drawing/2014/main" id="{A85458D5-0A5D-4CAB-8536-480FCBEABF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99415" y="3910391"/>
            <a:ext cx="5568490" cy="2632259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9" name="right-arrowheads_44810">
            <a:extLst>
              <a:ext uri="{FF2B5EF4-FFF2-40B4-BE49-F238E27FC236}">
                <a16:creationId xmlns="" xmlns:a16="http://schemas.microsoft.com/office/drawing/2014/main" id="{E2FB155C-7241-4FAF-BFFF-BE33BAC407CA}"/>
              </a:ext>
            </a:extLst>
          </p:cNvPr>
          <p:cNvSpPr/>
          <p:nvPr/>
        </p:nvSpPr>
        <p:spPr>
          <a:xfrm>
            <a:off x="180755" y="173557"/>
            <a:ext cx="533004" cy="520660"/>
          </a:xfrm>
          <a:custGeom>
            <a:avLst/>
            <a:gdLst>
              <a:gd name="T0" fmla="*/ 59 w 415"/>
              <a:gd name="T1" fmla="*/ 406 h 406"/>
              <a:gd name="T2" fmla="*/ 25 w 415"/>
              <a:gd name="T3" fmla="*/ 394 h 406"/>
              <a:gd name="T4" fmla="*/ 19 w 415"/>
              <a:gd name="T5" fmla="*/ 318 h 406"/>
              <a:gd name="T6" fmla="*/ 114 w 415"/>
              <a:gd name="T7" fmla="*/ 206 h 406"/>
              <a:gd name="T8" fmla="*/ 19 w 415"/>
              <a:gd name="T9" fmla="*/ 94 h 406"/>
              <a:gd name="T10" fmla="*/ 25 w 415"/>
              <a:gd name="T11" fmla="*/ 19 h 406"/>
              <a:gd name="T12" fmla="*/ 100 w 415"/>
              <a:gd name="T13" fmla="*/ 25 h 406"/>
              <a:gd name="T14" fmla="*/ 225 w 415"/>
              <a:gd name="T15" fmla="*/ 172 h 406"/>
              <a:gd name="T16" fmla="*/ 225 w 415"/>
              <a:gd name="T17" fmla="*/ 241 h 406"/>
              <a:gd name="T18" fmla="*/ 100 w 415"/>
              <a:gd name="T19" fmla="*/ 388 h 406"/>
              <a:gd name="T20" fmla="*/ 59 w 415"/>
              <a:gd name="T21" fmla="*/ 406 h 406"/>
              <a:gd name="T22" fmla="*/ 273 w 415"/>
              <a:gd name="T23" fmla="*/ 388 h 406"/>
              <a:gd name="T24" fmla="*/ 398 w 415"/>
              <a:gd name="T25" fmla="*/ 241 h 406"/>
              <a:gd name="T26" fmla="*/ 398 w 415"/>
              <a:gd name="T27" fmla="*/ 172 h 406"/>
              <a:gd name="T28" fmla="*/ 273 w 415"/>
              <a:gd name="T29" fmla="*/ 25 h 406"/>
              <a:gd name="T30" fmla="*/ 198 w 415"/>
              <a:gd name="T31" fmla="*/ 19 h 406"/>
              <a:gd name="T32" fmla="*/ 192 w 415"/>
              <a:gd name="T33" fmla="*/ 94 h 406"/>
              <a:gd name="T34" fmla="*/ 287 w 415"/>
              <a:gd name="T35" fmla="*/ 206 h 406"/>
              <a:gd name="T36" fmla="*/ 192 w 415"/>
              <a:gd name="T37" fmla="*/ 318 h 406"/>
              <a:gd name="T38" fmla="*/ 198 w 415"/>
              <a:gd name="T39" fmla="*/ 394 h 406"/>
              <a:gd name="T40" fmla="*/ 232 w 415"/>
              <a:gd name="T41" fmla="*/ 406 h 406"/>
              <a:gd name="T42" fmla="*/ 273 w 415"/>
              <a:gd name="T43" fmla="*/ 388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5" h="406">
                <a:moveTo>
                  <a:pt x="59" y="406"/>
                </a:moveTo>
                <a:cubicBezTo>
                  <a:pt x="47" y="406"/>
                  <a:pt x="35" y="402"/>
                  <a:pt x="25" y="394"/>
                </a:cubicBezTo>
                <a:cubicBezTo>
                  <a:pt x="2" y="375"/>
                  <a:pt x="0" y="341"/>
                  <a:pt x="19" y="318"/>
                </a:cubicBezTo>
                <a:lnTo>
                  <a:pt x="114" y="206"/>
                </a:lnTo>
                <a:lnTo>
                  <a:pt x="19" y="94"/>
                </a:lnTo>
                <a:cubicBezTo>
                  <a:pt x="0" y="71"/>
                  <a:pt x="2" y="38"/>
                  <a:pt x="25" y="19"/>
                </a:cubicBezTo>
                <a:cubicBezTo>
                  <a:pt x="47" y="0"/>
                  <a:pt x="81" y="2"/>
                  <a:pt x="100" y="25"/>
                </a:cubicBezTo>
                <a:lnTo>
                  <a:pt x="225" y="172"/>
                </a:lnTo>
                <a:cubicBezTo>
                  <a:pt x="242" y="192"/>
                  <a:pt x="242" y="221"/>
                  <a:pt x="225" y="241"/>
                </a:cubicBezTo>
                <a:lnTo>
                  <a:pt x="100" y="388"/>
                </a:lnTo>
                <a:cubicBezTo>
                  <a:pt x="89" y="400"/>
                  <a:pt x="74" y="406"/>
                  <a:pt x="59" y="406"/>
                </a:cubicBezTo>
                <a:close/>
                <a:moveTo>
                  <a:pt x="273" y="388"/>
                </a:moveTo>
                <a:lnTo>
                  <a:pt x="398" y="241"/>
                </a:lnTo>
                <a:cubicBezTo>
                  <a:pt x="415" y="221"/>
                  <a:pt x="415" y="192"/>
                  <a:pt x="398" y="172"/>
                </a:cubicBezTo>
                <a:lnTo>
                  <a:pt x="273" y="25"/>
                </a:lnTo>
                <a:cubicBezTo>
                  <a:pt x="254" y="2"/>
                  <a:pt x="220" y="0"/>
                  <a:pt x="198" y="19"/>
                </a:cubicBezTo>
                <a:cubicBezTo>
                  <a:pt x="175" y="38"/>
                  <a:pt x="173" y="71"/>
                  <a:pt x="192" y="94"/>
                </a:cubicBezTo>
                <a:lnTo>
                  <a:pt x="287" y="206"/>
                </a:lnTo>
                <a:lnTo>
                  <a:pt x="192" y="318"/>
                </a:lnTo>
                <a:cubicBezTo>
                  <a:pt x="173" y="341"/>
                  <a:pt x="175" y="375"/>
                  <a:pt x="198" y="394"/>
                </a:cubicBezTo>
                <a:cubicBezTo>
                  <a:pt x="208" y="402"/>
                  <a:pt x="220" y="406"/>
                  <a:pt x="232" y="406"/>
                </a:cubicBezTo>
                <a:cubicBezTo>
                  <a:pt x="247" y="406"/>
                  <a:pt x="262" y="400"/>
                  <a:pt x="273" y="38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="" xmlns:a16="http://schemas.microsoft.com/office/drawing/2014/main" id="{61D803C0-77CF-4160-8975-8FF535D7147E}"/>
              </a:ext>
            </a:extLst>
          </p:cNvPr>
          <p:cNvCxnSpPr>
            <a:cxnSpLocks/>
          </p:cNvCxnSpPr>
          <p:nvPr/>
        </p:nvCxnSpPr>
        <p:spPr>
          <a:xfrm>
            <a:off x="222402" y="678828"/>
            <a:ext cx="11969598" cy="1562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图片 13">
            <a:extLst>
              <a:ext uri="{FF2B5EF4-FFF2-40B4-BE49-F238E27FC236}">
                <a16:creationId xmlns="" xmlns:a16="http://schemas.microsoft.com/office/drawing/2014/main" id="{56664C41-6ED4-46D6-A99B-448D63A15F3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98"/>
          <a:stretch/>
        </p:blipFill>
        <p:spPr>
          <a:xfrm>
            <a:off x="11355572" y="-15626"/>
            <a:ext cx="836428" cy="637379"/>
          </a:xfrm>
          <a:prstGeom prst="rect">
            <a:avLst/>
          </a:prstGeom>
        </p:spPr>
      </p:pic>
      <p:sp>
        <p:nvSpPr>
          <p:cNvPr id="17" name="矩形 16">
            <a:extLst>
              <a:ext uri="{FF2B5EF4-FFF2-40B4-BE49-F238E27FC236}">
                <a16:creationId xmlns="" xmlns:a16="http://schemas.microsoft.com/office/drawing/2014/main" id="{74FFA7F3-40CF-4664-9A63-B3FDD78F0B9F}"/>
              </a:ext>
            </a:extLst>
          </p:cNvPr>
          <p:cNvSpPr/>
          <p:nvPr/>
        </p:nvSpPr>
        <p:spPr>
          <a:xfrm>
            <a:off x="11451264" y="-15626"/>
            <a:ext cx="740735" cy="7098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pic>
        <p:nvPicPr>
          <p:cNvPr id="150" name="图片 149">
            <a:extLst>
              <a:ext uri="{FF2B5EF4-FFF2-40B4-BE49-F238E27FC236}">
                <a16:creationId xmlns="" xmlns:a16="http://schemas.microsoft.com/office/drawing/2014/main" id="{D58783FB-069B-4E41-AEEA-B39F565B7421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18" t="7421" r="16791" b="20191"/>
          <a:stretch/>
        </p:blipFill>
        <p:spPr>
          <a:xfrm>
            <a:off x="11544296" y="37007"/>
            <a:ext cx="576822" cy="62515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文本框 2">
            <a:extLst>
              <a:ext uri="{FF2B5EF4-FFF2-40B4-BE49-F238E27FC236}">
                <a16:creationId xmlns="" xmlns:a16="http://schemas.microsoft.com/office/drawing/2014/main" id="{A7C38575-11C0-4B54-B8A5-F99A0DD5CEE4}"/>
              </a:ext>
            </a:extLst>
          </p:cNvPr>
          <p:cNvSpPr txBox="1"/>
          <p:nvPr/>
        </p:nvSpPr>
        <p:spPr>
          <a:xfrm>
            <a:off x="744239" y="210888"/>
            <a:ext cx="48985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zh-CN" altLang="en-US" sz="2400" b="1" dirty="0">
                <a:solidFill>
                  <a:srgbClr val="000000"/>
                </a:solidFill>
              </a:rPr>
              <a:t>迎新应用使用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说明 </a:t>
            </a:r>
            <a:r>
              <a:rPr lang="en-US" altLang="zh-CN" sz="2400" b="1" dirty="0">
                <a:solidFill>
                  <a:srgbClr val="000000"/>
                </a:solidFill>
              </a:rPr>
              <a:t>—— PC</a:t>
            </a:r>
            <a:r>
              <a:rPr lang="zh-CN" altLang="en-US" sz="2400" b="1" dirty="0">
                <a:solidFill>
                  <a:srgbClr val="000000"/>
                </a:solidFill>
              </a:rPr>
              <a:t>端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20" name="箭头: 右 19">
            <a:extLst>
              <a:ext uri="{FF2B5EF4-FFF2-40B4-BE49-F238E27FC236}">
                <a16:creationId xmlns="" xmlns:a16="http://schemas.microsoft.com/office/drawing/2014/main" id="{60D68C44-070C-4DA5-AD0E-D6E9B654680A}"/>
              </a:ext>
            </a:extLst>
          </p:cNvPr>
          <p:cNvSpPr/>
          <p:nvPr/>
        </p:nvSpPr>
        <p:spPr>
          <a:xfrm>
            <a:off x="4653280" y="2150794"/>
            <a:ext cx="500699" cy="31963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33" name="组合 32">
            <a:extLst>
              <a:ext uri="{FF2B5EF4-FFF2-40B4-BE49-F238E27FC236}">
                <a16:creationId xmlns="" xmlns:a16="http://schemas.microsoft.com/office/drawing/2014/main" id="{EB689FE4-3BE8-4ECF-AAB5-74DB7947F29A}"/>
              </a:ext>
            </a:extLst>
          </p:cNvPr>
          <p:cNvGrpSpPr/>
          <p:nvPr/>
        </p:nvGrpSpPr>
        <p:grpSpPr>
          <a:xfrm>
            <a:off x="579330" y="4359553"/>
            <a:ext cx="3381270" cy="1517545"/>
            <a:chOff x="572894" y="1200313"/>
            <a:chExt cx="3381270" cy="1517545"/>
          </a:xfrm>
        </p:grpSpPr>
        <p:sp>
          <p:nvSpPr>
            <p:cNvPr id="34" name="矩形 33">
              <a:extLst>
                <a:ext uri="{FF2B5EF4-FFF2-40B4-BE49-F238E27FC236}">
                  <a16:creationId xmlns="" xmlns:a16="http://schemas.microsoft.com/office/drawing/2014/main" id="{1E6F2BA8-4081-4D43-B652-B8449125E2C5}"/>
                </a:ext>
              </a:extLst>
            </p:cNvPr>
            <p:cNvSpPr/>
            <p:nvPr/>
          </p:nvSpPr>
          <p:spPr>
            <a:xfrm>
              <a:off x="1139803" y="1678776"/>
              <a:ext cx="2801507" cy="7770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30000"/>
                </a:lnSpc>
              </a:pPr>
              <a:r>
                <a:rPr lang="zh-CN" altLang="en-US" dirty="0"/>
                <a:t>编辑修改新生学号后，点击保存。</a:t>
              </a:r>
            </a:p>
          </p:txBody>
        </p:sp>
        <p:sp>
          <p:nvSpPr>
            <p:cNvPr id="35" name="矩形: 圆角 34">
              <a:extLst>
                <a:ext uri="{FF2B5EF4-FFF2-40B4-BE49-F238E27FC236}">
                  <a16:creationId xmlns="" xmlns:a16="http://schemas.microsoft.com/office/drawing/2014/main" id="{E76D4923-C388-4BC5-A1F5-29DA5D18F147}"/>
                </a:ext>
              </a:extLst>
            </p:cNvPr>
            <p:cNvSpPr/>
            <p:nvPr/>
          </p:nvSpPr>
          <p:spPr>
            <a:xfrm>
              <a:off x="891027" y="1428401"/>
              <a:ext cx="3063137" cy="1289457"/>
            </a:xfrm>
            <a:prstGeom prst="roundRect">
              <a:avLst>
                <a:gd name="adj" fmla="val 5128"/>
              </a:avLst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6" name="椭圆 35">
              <a:extLst>
                <a:ext uri="{FF2B5EF4-FFF2-40B4-BE49-F238E27FC236}">
                  <a16:creationId xmlns="" xmlns:a16="http://schemas.microsoft.com/office/drawing/2014/main" id="{DD22DC5B-5B1B-4B5B-90D6-9BEBD98F8062}"/>
                </a:ext>
              </a:extLst>
            </p:cNvPr>
            <p:cNvSpPr/>
            <p:nvPr/>
          </p:nvSpPr>
          <p:spPr>
            <a:xfrm>
              <a:off x="572894" y="1200313"/>
              <a:ext cx="588510" cy="58851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" name="文本框 37">
              <a:extLst>
                <a:ext uri="{FF2B5EF4-FFF2-40B4-BE49-F238E27FC236}">
                  <a16:creationId xmlns="" xmlns:a16="http://schemas.microsoft.com/office/drawing/2014/main" id="{F7380993-60C6-4338-AE0A-5B9384E8DEAA}"/>
                </a:ext>
              </a:extLst>
            </p:cNvPr>
            <p:cNvSpPr txBox="1"/>
            <p:nvPr/>
          </p:nvSpPr>
          <p:spPr>
            <a:xfrm>
              <a:off x="629178" y="1232958"/>
              <a:ext cx="4759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6</a:t>
              </a:r>
              <a:endPara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1" name="组合 40">
            <a:extLst>
              <a:ext uri="{FF2B5EF4-FFF2-40B4-BE49-F238E27FC236}">
                <a16:creationId xmlns="" xmlns:a16="http://schemas.microsoft.com/office/drawing/2014/main" id="{1FB54E24-F116-473C-B637-1C2863D213FD}"/>
              </a:ext>
            </a:extLst>
          </p:cNvPr>
          <p:cNvGrpSpPr/>
          <p:nvPr/>
        </p:nvGrpSpPr>
        <p:grpSpPr>
          <a:xfrm>
            <a:off x="579331" y="1437794"/>
            <a:ext cx="3381270" cy="1517545"/>
            <a:chOff x="572894" y="1200313"/>
            <a:chExt cx="3381270" cy="1517545"/>
          </a:xfrm>
        </p:grpSpPr>
        <p:sp>
          <p:nvSpPr>
            <p:cNvPr id="42" name="矩形 41">
              <a:extLst>
                <a:ext uri="{FF2B5EF4-FFF2-40B4-BE49-F238E27FC236}">
                  <a16:creationId xmlns="" xmlns:a16="http://schemas.microsoft.com/office/drawing/2014/main" id="{49903B20-61CF-4CB5-8CC1-4E1F1DA52760}"/>
                </a:ext>
              </a:extLst>
            </p:cNvPr>
            <p:cNvSpPr/>
            <p:nvPr/>
          </p:nvSpPr>
          <p:spPr>
            <a:xfrm>
              <a:off x="1120935" y="1508420"/>
              <a:ext cx="2801507" cy="11371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lnSpc>
                  <a:spcPct val="130000"/>
                </a:lnSpc>
              </a:pPr>
              <a:r>
                <a:rPr lang="zh-CN" altLang="en-US" dirty="0"/>
                <a:t>完成“一键分学号”后，点击“详情“，可对新生学号进行修改。</a:t>
              </a:r>
            </a:p>
          </p:txBody>
        </p:sp>
        <p:sp>
          <p:nvSpPr>
            <p:cNvPr id="43" name="矩形: 圆角 42">
              <a:extLst>
                <a:ext uri="{FF2B5EF4-FFF2-40B4-BE49-F238E27FC236}">
                  <a16:creationId xmlns="" xmlns:a16="http://schemas.microsoft.com/office/drawing/2014/main" id="{2379B097-6812-4B60-9A5D-7DE5D5984F65}"/>
                </a:ext>
              </a:extLst>
            </p:cNvPr>
            <p:cNvSpPr/>
            <p:nvPr/>
          </p:nvSpPr>
          <p:spPr>
            <a:xfrm>
              <a:off x="891027" y="1428401"/>
              <a:ext cx="3063137" cy="1289457"/>
            </a:xfrm>
            <a:prstGeom prst="roundRect">
              <a:avLst>
                <a:gd name="adj" fmla="val 5128"/>
              </a:avLst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4" name="椭圆 43">
              <a:extLst>
                <a:ext uri="{FF2B5EF4-FFF2-40B4-BE49-F238E27FC236}">
                  <a16:creationId xmlns="" xmlns:a16="http://schemas.microsoft.com/office/drawing/2014/main" id="{61F21E17-1667-484C-AC08-A245803EF2C8}"/>
                </a:ext>
              </a:extLst>
            </p:cNvPr>
            <p:cNvSpPr/>
            <p:nvPr/>
          </p:nvSpPr>
          <p:spPr>
            <a:xfrm>
              <a:off x="572894" y="1200313"/>
              <a:ext cx="588510" cy="58851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5" name="文本框 44">
              <a:extLst>
                <a:ext uri="{FF2B5EF4-FFF2-40B4-BE49-F238E27FC236}">
                  <a16:creationId xmlns="" xmlns:a16="http://schemas.microsoft.com/office/drawing/2014/main" id="{9370B8F7-A0BF-4BB5-8636-E3B37EA546D0}"/>
                </a:ext>
              </a:extLst>
            </p:cNvPr>
            <p:cNvSpPr txBox="1"/>
            <p:nvPr/>
          </p:nvSpPr>
          <p:spPr>
            <a:xfrm>
              <a:off x="629178" y="1232958"/>
              <a:ext cx="47594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</a:t>
              </a:r>
              <a:endPara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6" name="箭头: 右 45">
            <a:extLst>
              <a:ext uri="{FF2B5EF4-FFF2-40B4-BE49-F238E27FC236}">
                <a16:creationId xmlns="" xmlns:a16="http://schemas.microsoft.com/office/drawing/2014/main" id="{755D008C-A797-4485-898E-E13E4A4E936A}"/>
              </a:ext>
            </a:extLst>
          </p:cNvPr>
          <p:cNvSpPr/>
          <p:nvPr/>
        </p:nvSpPr>
        <p:spPr>
          <a:xfrm>
            <a:off x="4653280" y="5000044"/>
            <a:ext cx="500699" cy="31963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>
            <a:extLst>
              <a:ext uri="{FF2B5EF4-FFF2-40B4-BE49-F238E27FC236}">
                <a16:creationId xmlns="" xmlns:a16="http://schemas.microsoft.com/office/drawing/2014/main" id="{C76D00F6-90B2-4F40-8702-F1D2074B924F}"/>
              </a:ext>
            </a:extLst>
          </p:cNvPr>
          <p:cNvSpPr/>
          <p:nvPr/>
        </p:nvSpPr>
        <p:spPr>
          <a:xfrm>
            <a:off x="6183137" y="2331575"/>
            <a:ext cx="193599" cy="108539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81157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right-arrowheads_44810">
            <a:extLst>
              <a:ext uri="{FF2B5EF4-FFF2-40B4-BE49-F238E27FC236}">
                <a16:creationId xmlns="" xmlns:a16="http://schemas.microsoft.com/office/drawing/2014/main" id="{E2FB155C-7241-4FAF-BFFF-BE33BAC407CA}"/>
              </a:ext>
            </a:extLst>
          </p:cNvPr>
          <p:cNvSpPr/>
          <p:nvPr/>
        </p:nvSpPr>
        <p:spPr>
          <a:xfrm>
            <a:off x="180755" y="173557"/>
            <a:ext cx="533004" cy="520660"/>
          </a:xfrm>
          <a:custGeom>
            <a:avLst/>
            <a:gdLst>
              <a:gd name="T0" fmla="*/ 59 w 415"/>
              <a:gd name="T1" fmla="*/ 406 h 406"/>
              <a:gd name="T2" fmla="*/ 25 w 415"/>
              <a:gd name="T3" fmla="*/ 394 h 406"/>
              <a:gd name="T4" fmla="*/ 19 w 415"/>
              <a:gd name="T5" fmla="*/ 318 h 406"/>
              <a:gd name="T6" fmla="*/ 114 w 415"/>
              <a:gd name="T7" fmla="*/ 206 h 406"/>
              <a:gd name="T8" fmla="*/ 19 w 415"/>
              <a:gd name="T9" fmla="*/ 94 h 406"/>
              <a:gd name="T10" fmla="*/ 25 w 415"/>
              <a:gd name="T11" fmla="*/ 19 h 406"/>
              <a:gd name="T12" fmla="*/ 100 w 415"/>
              <a:gd name="T13" fmla="*/ 25 h 406"/>
              <a:gd name="T14" fmla="*/ 225 w 415"/>
              <a:gd name="T15" fmla="*/ 172 h 406"/>
              <a:gd name="T16" fmla="*/ 225 w 415"/>
              <a:gd name="T17" fmla="*/ 241 h 406"/>
              <a:gd name="T18" fmla="*/ 100 w 415"/>
              <a:gd name="T19" fmla="*/ 388 h 406"/>
              <a:gd name="T20" fmla="*/ 59 w 415"/>
              <a:gd name="T21" fmla="*/ 406 h 406"/>
              <a:gd name="T22" fmla="*/ 273 w 415"/>
              <a:gd name="T23" fmla="*/ 388 h 406"/>
              <a:gd name="T24" fmla="*/ 398 w 415"/>
              <a:gd name="T25" fmla="*/ 241 h 406"/>
              <a:gd name="T26" fmla="*/ 398 w 415"/>
              <a:gd name="T27" fmla="*/ 172 h 406"/>
              <a:gd name="T28" fmla="*/ 273 w 415"/>
              <a:gd name="T29" fmla="*/ 25 h 406"/>
              <a:gd name="T30" fmla="*/ 198 w 415"/>
              <a:gd name="T31" fmla="*/ 19 h 406"/>
              <a:gd name="T32" fmla="*/ 192 w 415"/>
              <a:gd name="T33" fmla="*/ 94 h 406"/>
              <a:gd name="T34" fmla="*/ 287 w 415"/>
              <a:gd name="T35" fmla="*/ 206 h 406"/>
              <a:gd name="T36" fmla="*/ 192 w 415"/>
              <a:gd name="T37" fmla="*/ 318 h 406"/>
              <a:gd name="T38" fmla="*/ 198 w 415"/>
              <a:gd name="T39" fmla="*/ 394 h 406"/>
              <a:gd name="T40" fmla="*/ 232 w 415"/>
              <a:gd name="T41" fmla="*/ 406 h 406"/>
              <a:gd name="T42" fmla="*/ 273 w 415"/>
              <a:gd name="T43" fmla="*/ 388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5" h="406">
                <a:moveTo>
                  <a:pt x="59" y="406"/>
                </a:moveTo>
                <a:cubicBezTo>
                  <a:pt x="47" y="406"/>
                  <a:pt x="35" y="402"/>
                  <a:pt x="25" y="394"/>
                </a:cubicBezTo>
                <a:cubicBezTo>
                  <a:pt x="2" y="375"/>
                  <a:pt x="0" y="341"/>
                  <a:pt x="19" y="318"/>
                </a:cubicBezTo>
                <a:lnTo>
                  <a:pt x="114" y="206"/>
                </a:lnTo>
                <a:lnTo>
                  <a:pt x="19" y="94"/>
                </a:lnTo>
                <a:cubicBezTo>
                  <a:pt x="0" y="71"/>
                  <a:pt x="2" y="38"/>
                  <a:pt x="25" y="19"/>
                </a:cubicBezTo>
                <a:cubicBezTo>
                  <a:pt x="47" y="0"/>
                  <a:pt x="81" y="2"/>
                  <a:pt x="100" y="25"/>
                </a:cubicBezTo>
                <a:lnTo>
                  <a:pt x="225" y="172"/>
                </a:lnTo>
                <a:cubicBezTo>
                  <a:pt x="242" y="192"/>
                  <a:pt x="242" y="221"/>
                  <a:pt x="225" y="241"/>
                </a:cubicBezTo>
                <a:lnTo>
                  <a:pt x="100" y="388"/>
                </a:lnTo>
                <a:cubicBezTo>
                  <a:pt x="89" y="400"/>
                  <a:pt x="74" y="406"/>
                  <a:pt x="59" y="406"/>
                </a:cubicBezTo>
                <a:close/>
                <a:moveTo>
                  <a:pt x="273" y="388"/>
                </a:moveTo>
                <a:lnTo>
                  <a:pt x="398" y="241"/>
                </a:lnTo>
                <a:cubicBezTo>
                  <a:pt x="415" y="221"/>
                  <a:pt x="415" y="192"/>
                  <a:pt x="398" y="172"/>
                </a:cubicBezTo>
                <a:lnTo>
                  <a:pt x="273" y="25"/>
                </a:lnTo>
                <a:cubicBezTo>
                  <a:pt x="254" y="2"/>
                  <a:pt x="220" y="0"/>
                  <a:pt x="198" y="19"/>
                </a:cubicBezTo>
                <a:cubicBezTo>
                  <a:pt x="175" y="38"/>
                  <a:pt x="173" y="71"/>
                  <a:pt x="192" y="94"/>
                </a:cubicBezTo>
                <a:lnTo>
                  <a:pt x="287" y="206"/>
                </a:lnTo>
                <a:lnTo>
                  <a:pt x="192" y="318"/>
                </a:lnTo>
                <a:cubicBezTo>
                  <a:pt x="173" y="341"/>
                  <a:pt x="175" y="375"/>
                  <a:pt x="198" y="394"/>
                </a:cubicBezTo>
                <a:cubicBezTo>
                  <a:pt x="208" y="402"/>
                  <a:pt x="220" y="406"/>
                  <a:pt x="232" y="406"/>
                </a:cubicBezTo>
                <a:cubicBezTo>
                  <a:pt x="247" y="406"/>
                  <a:pt x="262" y="400"/>
                  <a:pt x="273" y="38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="" xmlns:a16="http://schemas.microsoft.com/office/drawing/2014/main" id="{61D803C0-77CF-4160-8975-8FF535D7147E}"/>
              </a:ext>
            </a:extLst>
          </p:cNvPr>
          <p:cNvCxnSpPr>
            <a:cxnSpLocks/>
          </p:cNvCxnSpPr>
          <p:nvPr/>
        </p:nvCxnSpPr>
        <p:spPr>
          <a:xfrm>
            <a:off x="222402" y="678828"/>
            <a:ext cx="11969598" cy="1562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图片 13">
            <a:extLst>
              <a:ext uri="{FF2B5EF4-FFF2-40B4-BE49-F238E27FC236}">
                <a16:creationId xmlns="" xmlns:a16="http://schemas.microsoft.com/office/drawing/2014/main" id="{56664C41-6ED4-46D6-A99B-448D63A15F3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98"/>
          <a:stretch/>
        </p:blipFill>
        <p:spPr>
          <a:xfrm>
            <a:off x="11355572" y="-15626"/>
            <a:ext cx="836428" cy="637379"/>
          </a:xfrm>
          <a:prstGeom prst="rect">
            <a:avLst/>
          </a:prstGeom>
        </p:spPr>
      </p:pic>
      <p:sp>
        <p:nvSpPr>
          <p:cNvPr id="17" name="矩形 16">
            <a:extLst>
              <a:ext uri="{FF2B5EF4-FFF2-40B4-BE49-F238E27FC236}">
                <a16:creationId xmlns="" xmlns:a16="http://schemas.microsoft.com/office/drawing/2014/main" id="{74FFA7F3-40CF-4664-9A63-B3FDD78F0B9F}"/>
              </a:ext>
            </a:extLst>
          </p:cNvPr>
          <p:cNvSpPr/>
          <p:nvPr/>
        </p:nvSpPr>
        <p:spPr>
          <a:xfrm>
            <a:off x="11451264" y="-15626"/>
            <a:ext cx="740735" cy="70984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pic>
        <p:nvPicPr>
          <p:cNvPr id="150" name="图片 149">
            <a:extLst>
              <a:ext uri="{FF2B5EF4-FFF2-40B4-BE49-F238E27FC236}">
                <a16:creationId xmlns="" xmlns:a16="http://schemas.microsoft.com/office/drawing/2014/main" id="{D58783FB-069B-4E41-AEEA-B39F565B74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18" t="7421" r="16791" b="20191"/>
          <a:stretch/>
        </p:blipFill>
        <p:spPr>
          <a:xfrm>
            <a:off x="11544296" y="37007"/>
            <a:ext cx="576822" cy="62515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3" name="文本框 2">
            <a:extLst>
              <a:ext uri="{FF2B5EF4-FFF2-40B4-BE49-F238E27FC236}">
                <a16:creationId xmlns="" xmlns:a16="http://schemas.microsoft.com/office/drawing/2014/main" id="{A7C38575-11C0-4B54-B8A5-F99A0DD5CEE4}"/>
              </a:ext>
            </a:extLst>
          </p:cNvPr>
          <p:cNvSpPr txBox="1"/>
          <p:nvPr/>
        </p:nvSpPr>
        <p:spPr>
          <a:xfrm>
            <a:off x="744239" y="210888"/>
            <a:ext cx="48985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zh-CN" altLang="en-US" sz="2400" b="1" dirty="0">
                <a:solidFill>
                  <a:srgbClr val="000000"/>
                </a:solidFill>
              </a:rPr>
              <a:t>迎新应用使用</a:t>
            </a:r>
            <a:r>
              <a:rPr kumimoji="0" lang="zh-CN" alt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说明 </a:t>
            </a:r>
            <a:r>
              <a:rPr lang="en-US" altLang="zh-CN" sz="2400" b="1" dirty="0">
                <a:solidFill>
                  <a:srgbClr val="000000"/>
                </a:solidFill>
              </a:rPr>
              <a:t>—— </a:t>
            </a:r>
            <a:r>
              <a:rPr lang="zh-CN" altLang="en-US" sz="2400" b="1" dirty="0">
                <a:solidFill>
                  <a:srgbClr val="000000"/>
                </a:solidFill>
              </a:rPr>
              <a:t>移动端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pic>
        <p:nvPicPr>
          <p:cNvPr id="5" name="图片 4">
            <a:extLst>
              <a:ext uri="{FF2B5EF4-FFF2-40B4-BE49-F238E27FC236}">
                <a16:creationId xmlns="" xmlns:a16="http://schemas.microsoft.com/office/drawing/2014/main" id="{77849AF6-9715-4D70-9EFF-2526C288245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78"/>
          <a:stretch/>
        </p:blipFill>
        <p:spPr>
          <a:xfrm>
            <a:off x="900653" y="1246686"/>
            <a:ext cx="2119401" cy="4530846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图片 7">
            <a:extLst>
              <a:ext uri="{FF2B5EF4-FFF2-40B4-BE49-F238E27FC236}">
                <a16:creationId xmlns="" xmlns:a16="http://schemas.microsoft.com/office/drawing/2014/main" id="{E119BCFF-8F54-4E7D-9217-DFF47737F48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41"/>
          <a:stretch/>
        </p:blipFill>
        <p:spPr>
          <a:xfrm>
            <a:off x="3600206" y="1246686"/>
            <a:ext cx="2134201" cy="4530846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图片 9">
            <a:extLst>
              <a:ext uri="{FF2B5EF4-FFF2-40B4-BE49-F238E27FC236}">
                <a16:creationId xmlns="" xmlns:a16="http://schemas.microsoft.com/office/drawing/2014/main" id="{ED2BB15A-CF7E-41B2-848C-F3FBDB24AEB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47"/>
          <a:stretch/>
        </p:blipFill>
        <p:spPr>
          <a:xfrm>
            <a:off x="6314559" y="1246686"/>
            <a:ext cx="2136075" cy="4548881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图片 11">
            <a:extLst>
              <a:ext uri="{FF2B5EF4-FFF2-40B4-BE49-F238E27FC236}">
                <a16:creationId xmlns="" xmlns:a16="http://schemas.microsoft.com/office/drawing/2014/main" id="{2B803ED0-96D8-43F9-8608-FF44D361B07F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41"/>
          <a:stretch/>
        </p:blipFill>
        <p:spPr>
          <a:xfrm>
            <a:off x="9030787" y="1246686"/>
            <a:ext cx="2142695" cy="4548881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流程图: 过程 12">
            <a:extLst>
              <a:ext uri="{FF2B5EF4-FFF2-40B4-BE49-F238E27FC236}">
                <a16:creationId xmlns="" xmlns:a16="http://schemas.microsoft.com/office/drawing/2014/main" id="{155AEB3F-F794-441C-B95E-167DFDB46D3D}"/>
              </a:ext>
            </a:extLst>
          </p:cNvPr>
          <p:cNvSpPr/>
          <p:nvPr/>
        </p:nvSpPr>
        <p:spPr>
          <a:xfrm>
            <a:off x="900653" y="3164299"/>
            <a:ext cx="952214" cy="324853"/>
          </a:xfrm>
          <a:prstGeom prst="flowChartProcess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37" name="直接箭头连接符 36">
            <a:extLst>
              <a:ext uri="{FF2B5EF4-FFF2-40B4-BE49-F238E27FC236}">
                <a16:creationId xmlns="" xmlns:a16="http://schemas.microsoft.com/office/drawing/2014/main" id="{FC7A0067-04AE-43B6-830A-251ADC2AF342}"/>
              </a:ext>
            </a:extLst>
          </p:cNvPr>
          <p:cNvCxnSpPr>
            <a:cxnSpLocks/>
          </p:cNvCxnSpPr>
          <p:nvPr/>
        </p:nvCxnSpPr>
        <p:spPr>
          <a:xfrm flipH="1">
            <a:off x="1447975" y="2910473"/>
            <a:ext cx="364279" cy="193868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文本框 23">
            <a:extLst>
              <a:ext uri="{FF2B5EF4-FFF2-40B4-BE49-F238E27FC236}">
                <a16:creationId xmlns="" xmlns:a16="http://schemas.microsoft.com/office/drawing/2014/main" id="{66D3D285-542B-496A-A3DF-DD70D4CFB85C}"/>
              </a:ext>
            </a:extLst>
          </p:cNvPr>
          <p:cNvSpPr txBox="1"/>
          <p:nvPr/>
        </p:nvSpPr>
        <p:spPr>
          <a:xfrm>
            <a:off x="1812254" y="2692743"/>
            <a:ext cx="952215" cy="387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</a:pPr>
            <a:r>
              <a:rPr lang="zh-CN" altLang="en-US" sz="1600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点这里</a:t>
            </a:r>
            <a:endParaRPr lang="en-US" altLang="zh-CN" sz="1600" dirty="0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="" xmlns:a16="http://schemas.microsoft.com/office/drawing/2014/main" id="{ABDBB7CC-78E6-4744-90FC-E0C679777A6A}"/>
              </a:ext>
            </a:extLst>
          </p:cNvPr>
          <p:cNvSpPr txBox="1"/>
          <p:nvPr/>
        </p:nvSpPr>
        <p:spPr>
          <a:xfrm>
            <a:off x="900653" y="6031358"/>
            <a:ext cx="21194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/>
              <a:t>企业号→易班迎新</a:t>
            </a:r>
          </a:p>
        </p:txBody>
      </p:sp>
      <p:sp>
        <p:nvSpPr>
          <p:cNvPr id="40" name="文本框 39">
            <a:extLst>
              <a:ext uri="{FF2B5EF4-FFF2-40B4-BE49-F238E27FC236}">
                <a16:creationId xmlns="" xmlns:a16="http://schemas.microsoft.com/office/drawing/2014/main" id="{B2779F26-9E98-4F98-B18F-E8AAA4337921}"/>
              </a:ext>
            </a:extLst>
          </p:cNvPr>
          <p:cNvSpPr txBox="1"/>
          <p:nvPr/>
        </p:nvSpPr>
        <p:spPr>
          <a:xfrm>
            <a:off x="3576143" y="6031358"/>
            <a:ext cx="2158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/>
              <a:t>报到情况统计</a:t>
            </a:r>
          </a:p>
        </p:txBody>
      </p:sp>
      <p:sp>
        <p:nvSpPr>
          <p:cNvPr id="47" name="流程图: 过程 46">
            <a:extLst>
              <a:ext uri="{FF2B5EF4-FFF2-40B4-BE49-F238E27FC236}">
                <a16:creationId xmlns="" xmlns:a16="http://schemas.microsoft.com/office/drawing/2014/main" id="{D88A15B7-9E30-463C-9487-0C05EC92C3CE}"/>
              </a:ext>
            </a:extLst>
          </p:cNvPr>
          <p:cNvSpPr/>
          <p:nvPr/>
        </p:nvSpPr>
        <p:spPr>
          <a:xfrm>
            <a:off x="3658619" y="5470714"/>
            <a:ext cx="552433" cy="324853"/>
          </a:xfrm>
          <a:prstGeom prst="flowChartProcess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8" name="流程图: 过程 47">
            <a:extLst>
              <a:ext uri="{FF2B5EF4-FFF2-40B4-BE49-F238E27FC236}">
                <a16:creationId xmlns="" xmlns:a16="http://schemas.microsoft.com/office/drawing/2014/main" id="{C641F1A1-4780-4B8B-BE90-53ECCE231F66}"/>
              </a:ext>
            </a:extLst>
          </p:cNvPr>
          <p:cNvSpPr/>
          <p:nvPr/>
        </p:nvSpPr>
        <p:spPr>
          <a:xfrm>
            <a:off x="7106379" y="5470714"/>
            <a:ext cx="552433" cy="324853"/>
          </a:xfrm>
          <a:prstGeom prst="flowChartProcess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9" name="流程图: 过程 48">
            <a:extLst>
              <a:ext uri="{FF2B5EF4-FFF2-40B4-BE49-F238E27FC236}">
                <a16:creationId xmlns="" xmlns:a16="http://schemas.microsoft.com/office/drawing/2014/main" id="{60B71A02-DD3B-471C-8BEF-E97D5F12B0F7}"/>
              </a:ext>
            </a:extLst>
          </p:cNvPr>
          <p:cNvSpPr/>
          <p:nvPr/>
        </p:nvSpPr>
        <p:spPr>
          <a:xfrm>
            <a:off x="10573411" y="5470714"/>
            <a:ext cx="552433" cy="324853"/>
          </a:xfrm>
          <a:prstGeom prst="flowChartProcess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0" name="文本框 49">
            <a:extLst>
              <a:ext uri="{FF2B5EF4-FFF2-40B4-BE49-F238E27FC236}">
                <a16:creationId xmlns="" xmlns:a16="http://schemas.microsoft.com/office/drawing/2014/main" id="{BDF8EF88-2951-4DF1-96BF-5DE96089F343}"/>
              </a:ext>
            </a:extLst>
          </p:cNvPr>
          <p:cNvSpPr txBox="1"/>
          <p:nvPr/>
        </p:nvSpPr>
        <p:spPr>
          <a:xfrm>
            <a:off x="6314559" y="6031358"/>
            <a:ext cx="21360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/>
              <a:t>采集情况统计</a:t>
            </a:r>
          </a:p>
        </p:txBody>
      </p:sp>
      <p:sp>
        <p:nvSpPr>
          <p:cNvPr id="51" name="文本框 50">
            <a:extLst>
              <a:ext uri="{FF2B5EF4-FFF2-40B4-BE49-F238E27FC236}">
                <a16:creationId xmlns="" xmlns:a16="http://schemas.microsoft.com/office/drawing/2014/main" id="{CFFC076B-EAAB-417C-ABCF-4D8188D9C478}"/>
              </a:ext>
            </a:extLst>
          </p:cNvPr>
          <p:cNvSpPr txBox="1"/>
          <p:nvPr/>
        </p:nvSpPr>
        <p:spPr>
          <a:xfrm>
            <a:off x="9084957" y="6031358"/>
            <a:ext cx="208852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/>
              <a:t>到站情况统计</a:t>
            </a:r>
          </a:p>
        </p:txBody>
      </p:sp>
      <p:cxnSp>
        <p:nvCxnSpPr>
          <p:cNvPr id="52" name="直接箭头连接符 51">
            <a:extLst>
              <a:ext uri="{FF2B5EF4-FFF2-40B4-BE49-F238E27FC236}">
                <a16:creationId xmlns="" xmlns:a16="http://schemas.microsoft.com/office/drawing/2014/main" id="{D5D153FF-C658-4DE1-BFDD-AFB969139229}"/>
              </a:ext>
            </a:extLst>
          </p:cNvPr>
          <p:cNvCxnSpPr>
            <a:cxnSpLocks/>
          </p:cNvCxnSpPr>
          <p:nvPr/>
        </p:nvCxnSpPr>
        <p:spPr>
          <a:xfrm flipV="1">
            <a:off x="4254054" y="4326019"/>
            <a:ext cx="221693" cy="333166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文本框 23">
            <a:extLst>
              <a:ext uri="{FF2B5EF4-FFF2-40B4-BE49-F238E27FC236}">
                <a16:creationId xmlns="" xmlns:a16="http://schemas.microsoft.com/office/drawing/2014/main" id="{BCE7DEBC-96BE-4928-B1AC-12286E6EE357}"/>
              </a:ext>
            </a:extLst>
          </p:cNvPr>
          <p:cNvSpPr txBox="1"/>
          <p:nvPr/>
        </p:nvSpPr>
        <p:spPr>
          <a:xfrm>
            <a:off x="3576142" y="4583275"/>
            <a:ext cx="2340157" cy="38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500"/>
              </a:lnSpc>
            </a:pPr>
            <a:r>
              <a:rPr lang="zh-CN" altLang="en-US" sz="1600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rPr>
              <a:t>点圆环可查看详细数据</a:t>
            </a:r>
            <a:endParaRPr lang="en-US" altLang="zh-CN" sz="1600" dirty="0">
              <a:solidFill>
                <a:srgbClr val="FF0000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62132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ICON" val="#408173;#133132;#407190;#40786;#375500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ICON" val="#408173;#133132;#407190;#40786;#375500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ICON" val="#408173;#133132;#407190;#40786;#375500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ICON" val="#408173;#133132;#407190;#40786;#375500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ICON" val="#408173;#133132;#407190;#40786;#375500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ICON" val="#408173;#133132;#407190;#40786;#375500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ICON" val="#408173;#133132;#407190;#40786;#375500;"/>
</p:tagLst>
</file>

<file path=ppt/theme/theme1.xml><?xml version="1.0" encoding="utf-8"?>
<a:theme xmlns:a="http://schemas.openxmlformats.org/drawingml/2006/main" name="1_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76658"/>
      </a:accent1>
      <a:accent2>
        <a:srgbClr val="00724A"/>
      </a:accent2>
      <a:accent3>
        <a:srgbClr val="D77818"/>
      </a:accent3>
      <a:accent4>
        <a:srgbClr val="8EBDB5"/>
      </a:accent4>
      <a:accent5>
        <a:srgbClr val="E5E5E5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10</TotalTime>
  <Words>574</Words>
  <Application>Microsoft Office PowerPoint</Application>
  <PresentationFormat>宽屏</PresentationFormat>
  <Paragraphs>75</Paragraphs>
  <Slides>8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6" baseType="lpstr">
      <vt:lpstr>等线</vt:lpstr>
      <vt:lpstr>等线 Light</vt:lpstr>
      <vt:lpstr>微软雅黑</vt:lpstr>
      <vt:lpstr>Arial</vt:lpstr>
      <vt:lpstr>Wingdings</vt:lpstr>
      <vt:lpstr>1_Office 主题​​</vt:lpstr>
      <vt:lpstr>主题5</vt:lpstr>
      <vt:lpstr>think-cell Slide</vt:lpstr>
      <vt:lpstr>2021年迎新应用使用说明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dmin</dc:creator>
  <cp:lastModifiedBy>me-1</cp:lastModifiedBy>
  <cp:revision>116</cp:revision>
  <dcterms:created xsi:type="dcterms:W3CDTF">2018-07-09T09:59:00Z</dcterms:created>
  <dcterms:modified xsi:type="dcterms:W3CDTF">2021-07-16T06:38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8612</vt:lpwstr>
  </property>
</Properties>
</file>